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5.xml" ContentType="application/vnd.openxmlformats-officedocument.presentationml.notesSlide+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notesSlides/notesSlide1.xml" ContentType="application/vnd.openxmlformats-officedocument.presentationml.notesSlide+xml"/>
  <Override PartName="/ppt/slideLayouts/slideLayout88.xml" ContentType="application/vnd.openxmlformats-officedocument.presentationml.slideLayout+xml"/>
  <Override PartName="/ppt/slideLayouts/slideLayout79.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89.xml" ContentType="application/vnd.openxmlformats-officedocument.presentationml.slideLayout+xml"/>
  <Override PartName="/ppt/slideLayouts/slideLayout87.xml" ContentType="application/vnd.openxmlformats-officedocument.presentationml.slideLayout+xml"/>
  <Override PartName="/ppt/slideLayouts/slideLayout91.xml" ContentType="application/vnd.openxmlformats-officedocument.presentationml.slideLayout+xml"/>
  <Override PartName="/ppt/slideLayouts/slideLayout153.xml" ContentType="application/vnd.openxmlformats-officedocument.presentationml.slideLayout+xml"/>
  <Override PartName="/ppt/slideLayouts/slideLayout152.xml" ContentType="application/vnd.openxmlformats-officedocument.presentationml.slideLayout+xml"/>
  <Override PartName="/ppt/slideLayouts/slideLayout151.xml" ContentType="application/vnd.openxmlformats-officedocument.presentationml.slideLayout+xml"/>
  <Override PartName="/ppt/slideLayouts/slideLayout150.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49.xml" ContentType="application/vnd.openxmlformats-officedocument.presentationml.slideLayout+xml"/>
  <Override PartName="/ppt/slideLayouts/slideLayout148.xml" ContentType="application/vnd.openxmlformats-officedocument.presentationml.slideLayout+xml"/>
  <Override PartName="/ppt/slideLayouts/slideLayout147.xml" ContentType="application/vnd.openxmlformats-officedocument.presentationml.slideLayout+xml"/>
  <Override PartName="/ppt/slideLayouts/slideLayout140.xml" ContentType="application/vnd.openxmlformats-officedocument.presentationml.slideLayout+xml"/>
  <Override PartName="/ppt/slideLayouts/slideLayout139.xml" ContentType="application/vnd.openxmlformats-officedocument.presentationml.slideLayout+xml"/>
  <Override PartName="/ppt/slideLayouts/slideLayout138.xml" ContentType="application/vnd.openxmlformats-officedocument.presentationml.slideLayout+xml"/>
  <Override PartName="/ppt/slideLayouts/slideLayout9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78.xml" ContentType="application/vnd.openxmlformats-officedocument.presentationml.slideLayout+xml"/>
  <Override PartName="/ppt/slideLayouts/slideLayout177.xml" ContentType="application/vnd.openxmlformats-officedocument.presentationml.slideLayout+xml"/>
  <Override PartName="/ppt/slideLayouts/slideLayout176.xml" ContentType="application/vnd.openxmlformats-officedocument.presentationml.slideLayout+xml"/>
  <Override PartName="/ppt/slideLayouts/slideLayout175.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74.xml" ContentType="application/vnd.openxmlformats-officedocument.presentationml.slideLayout+xml"/>
  <Override PartName="/ppt/slideLayouts/slideLayout173.xml" ContentType="application/vnd.openxmlformats-officedocument.presentationml.slideLayout+xml"/>
  <Override PartName="/ppt/slideLayouts/slideLayout17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4.xml" ContentType="application/vnd.openxmlformats-officedocument.presentationml.slideLayout+xml"/>
  <Override PartName="/ppt/slideLayouts/slideLayout107.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03.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35.xml" ContentType="application/vnd.openxmlformats-officedocument.presentationml.slideLayout+xml"/>
  <Override PartName="/ppt/slideLayouts/slideLayout11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slideLayouts/slideLayout126.xml" ContentType="application/vnd.openxmlformats-officedocument.presentationml.slideLayout+xml"/>
  <Override PartName="/ppt/slideLayouts/slideLayout125.xml" ContentType="application/vnd.openxmlformats-officedocument.presentationml.slideLayout+xml"/>
  <Override PartName="/ppt/slideLayouts/slideLayout124.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15.xml" ContentType="application/vnd.openxmlformats-officedocument.presentationml.slideLayout+xml"/>
  <Override PartName="/ppt/slideLayouts/slideLayout122.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3.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notesMasters/notesMaster1.xml" ContentType="application/vnd.openxmlformats-officedocument.presentationml.notesMaster+xml"/>
  <Override PartName="/ppt/theme/theme3.xml" ContentType="application/vnd.openxmlformats-officedocument.theme+xml"/>
  <Override PartName="/ppt/theme/theme4.xml" ContentType="application/vnd.openxmlformats-officedocument.theme+xml"/>
  <Override PartName="/ppt/charts/chart4.xml" ContentType="application/vnd.openxmlformats-officedocument.drawingml.chart+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heme/theme2.xml" ContentType="application/vnd.openxmlformats-officedocument.theme+xml"/>
  <Override PartName="/ppt/charts/chart5.xml" ContentType="application/vnd.openxmlformats-officedocument.drawingml.chart+xml"/>
  <Override PartName="/ppt/theme/theme1.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16.xml" ContentType="application/vnd.openxmlformats-officedocument.presentationml.tags+xml"/>
  <Override PartName="/ppt/tags/tag190.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26.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129.xml" ContentType="application/vnd.openxmlformats-officedocument.presentationml.tags+xml"/>
  <Override PartName="/ppt/tags/tag128.xml" ContentType="application/vnd.openxmlformats-officedocument.presentationml.tags+xml"/>
  <Override PartName="/ppt/tags/tag127.xml" ContentType="application/vnd.openxmlformats-officedocument.presentationml.tags+xml"/>
  <Override PartName="/ppt/tags/tag125.xml" ContentType="application/vnd.openxmlformats-officedocument.presentationml.tags+xml"/>
  <Override PartName="/ppt/tags/tag102.xml" ContentType="application/vnd.openxmlformats-officedocument.presentationml.tags+xml"/>
  <Override PartName="/ppt/tags/tag112.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101.xml" ContentType="application/vnd.openxmlformats-officedocument.presentationml.tags+xml"/>
  <Override PartName="/ppt/tags/tag135.xml" ContentType="application/vnd.openxmlformats-officedocument.presentationml.tags+xml"/>
  <Override PartName="/ppt/tags/tag103.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113.xml" ContentType="application/vnd.openxmlformats-officedocument.presentationml.tags+xml"/>
  <Override PartName="/ppt/tags/tag148.xml" ContentType="application/vnd.openxmlformats-officedocument.presentationml.tags+xml"/>
  <Override PartName="/ppt/tags/tag137.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74.xml" ContentType="application/vnd.openxmlformats-officedocument.presentationml.tags+xml"/>
  <Override PartName="/ppt/tags/tag173.xml" ContentType="application/vnd.openxmlformats-officedocument.presentationml.tags+xml"/>
  <Override PartName="/ppt/tags/tag160.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39.xml" ContentType="application/vnd.openxmlformats-officedocument.presentationml.tags+xml"/>
  <Override PartName="/ppt/tags/tag138.xml" ContentType="application/vnd.openxmlformats-officedocument.presentationml.tags+xml"/>
  <Override PartName="/ppt/tags/tag147.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51.xml" ContentType="application/vnd.openxmlformats-officedocument.presentationml.tags+xml"/>
  <Override PartName="/ppt/tags/tag150.xml" ContentType="application/vnd.openxmlformats-officedocument.presentationml.tags+xml"/>
  <Override PartName="/ppt/tags/tag136.xml" ContentType="application/vnd.openxmlformats-officedocument.presentationml.tags+xml"/>
  <Override PartName="/ppt/tags/tag79.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7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82.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91.xml" ContentType="application/vnd.openxmlformats-officedocument.presentationml.tags+xml"/>
  <Override PartName="/ppt/tags/tag181.xml" ContentType="application/vnd.openxmlformats-officedocument.presentationml.tags+xml"/>
  <Override PartName="/ppt/tags/tag183.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256.xml" ContentType="application/vnd.openxmlformats-officedocument.presentationml.tags+xml"/>
  <Override PartName="/ppt/tags/tag255.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54.xml" ContentType="application/vnd.openxmlformats-officedocument.presentationml.tags+xml"/>
  <Override PartName="/ppt/tags/tag253.xml" ContentType="application/vnd.openxmlformats-officedocument.presentationml.tags+xml"/>
  <Override PartName="/ppt/tags/tag252.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42.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83.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80.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79.xml" ContentType="application/vnd.openxmlformats-officedocument.presentationml.tags+xml"/>
  <Override PartName="/ppt/tags/tag278.xml" ContentType="application/vnd.openxmlformats-officedocument.presentationml.tags+xml"/>
  <Override PartName="/ppt/tags/tag27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41.xml" ContentType="application/vnd.openxmlformats-officedocument.presentationml.tags+xml"/>
  <Override PartName="/ppt/tags/tag240.xml" ContentType="application/vnd.openxmlformats-officedocument.presentationml.tags+xml"/>
  <Override PartName="/ppt/tags/tag239.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204.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03.xml" ContentType="application/vnd.openxmlformats-officedocument.presentationml.tags+xml"/>
  <Override PartName="/ppt/tags/tag202.xml" ContentType="application/vnd.openxmlformats-officedocument.presentationml.tags+xml"/>
  <Override PartName="/ppt/tags/tag201.xml" ContentType="application/vnd.openxmlformats-officedocument.presentationml.tags+xml"/>
  <Override PartName="/ppt/tags/tag194.xml" ContentType="application/vnd.openxmlformats-officedocument.presentationml.tags+xml"/>
  <Override PartName="/ppt/tags/tag193.xml" ContentType="application/vnd.openxmlformats-officedocument.presentationml.tags+xml"/>
  <Override PartName="/ppt/tags/tag192.xml" ContentType="application/vnd.openxmlformats-officedocument.presentationml.tags+xml"/>
  <Override PartName="/ppt/tags/tag191.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29.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28.xml" ContentType="application/vnd.openxmlformats-officedocument.presentationml.tags+xml"/>
  <Override PartName="/ppt/tags/tag227.xml" ContentType="application/vnd.openxmlformats-officedocument.presentationml.tags+xml"/>
  <Override PartName="/ppt/tags/tag22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360.xml" ContentType="application/vnd.openxmlformats-officedocument.presentationml.tags+xml"/>
  <Override PartName="/ppt/tags/tag359.xml" ContentType="application/vnd.openxmlformats-officedocument.presentationml.tags+xml"/>
  <Override PartName="/ppt/tags/tag358.xml" ContentType="application/vnd.openxmlformats-officedocument.presentationml.tags+xml"/>
  <Override PartName="/ppt/tags/tag357.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56.xml" ContentType="application/vnd.openxmlformats-officedocument.presentationml.tags+xml"/>
  <Override PartName="/ppt/tags/tag355.xml" ContentType="application/vnd.openxmlformats-officedocument.presentationml.tags+xml"/>
  <Override PartName="/ppt/tags/tag354.xml" ContentType="application/vnd.openxmlformats-officedocument.presentationml.tags+xml"/>
  <Override PartName="/ppt/tags/tag347.xml" ContentType="application/vnd.openxmlformats-officedocument.presentationml.tags+xml"/>
  <Override PartName="/ppt/tags/tag346.xml" ContentType="application/vnd.openxmlformats-officedocument.presentationml.tags+xml"/>
  <Override PartName="/ppt/tags/tag345.xml" ContentType="application/vnd.openxmlformats-officedocument.presentationml.tags+xml"/>
  <Override PartName="/ppt/tags/tag344.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383.xml" ContentType="application/vnd.openxmlformats-officedocument.presentationml.tags+xml"/>
  <Override PartName="/ppt/tags/tag382.xml" ContentType="application/vnd.openxmlformats-officedocument.presentationml.tags+xml"/>
  <Override PartName="/ppt/tags/tag18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86.xml" ContentType="application/vnd.openxmlformats-officedocument.presentationml.tags+xml"/>
  <Override PartName="/ppt/tags/tag185.xml" ContentType="application/vnd.openxmlformats-officedocument.presentationml.tags+xml"/>
  <Override PartName="/ppt/tags/tag184.xml" ContentType="application/vnd.openxmlformats-officedocument.presentationml.tags+xml"/>
  <Override PartName="/ppt/tags/tag381.xml" ContentType="application/vnd.openxmlformats-officedocument.presentationml.tags+xml"/>
  <Override PartName="/ppt/tags/tag380.xml" ContentType="application/vnd.openxmlformats-officedocument.presentationml.tags+xml"/>
  <Override PartName="/ppt/tags/tag37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43.xml" ContentType="application/vnd.openxmlformats-officedocument.presentationml.tags+xml"/>
  <Override PartName="/ppt/tags/tag342.xml" ContentType="application/vnd.openxmlformats-officedocument.presentationml.tags+xml"/>
  <Override PartName="/ppt/tags/tag341.xml" ContentType="application/vnd.openxmlformats-officedocument.presentationml.tags+xml"/>
  <Override PartName="/ppt/tags/tag309.xml" ContentType="application/vnd.openxmlformats-officedocument.presentationml.tags+xml"/>
  <Override PartName="/ppt/tags/tag308.xml" ContentType="application/vnd.openxmlformats-officedocument.presentationml.tags+xml"/>
  <Override PartName="/ppt/tags/tag307.xml" ContentType="application/vnd.openxmlformats-officedocument.presentationml.tags+xml"/>
  <Override PartName="/ppt/tags/tag306.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05.xml" ContentType="application/vnd.openxmlformats-officedocument.presentationml.tags+xml"/>
  <Override PartName="/ppt/tags/tag304.xml" ContentType="application/vnd.openxmlformats-officedocument.presentationml.tags+xml"/>
  <Override PartName="/ppt/tags/tag303.xml" ContentType="application/vnd.openxmlformats-officedocument.presentationml.tags+xml"/>
  <Override PartName="/ppt/tags/tag296.xml" ContentType="application/vnd.openxmlformats-officedocument.presentationml.tags+xml"/>
  <Override PartName="/ppt/tags/tag295.xml" ContentType="application/vnd.openxmlformats-officedocument.presentationml.tags+xml"/>
  <Override PartName="/ppt/tags/tag294.xml" ContentType="application/vnd.openxmlformats-officedocument.presentationml.tags+xml"/>
  <Override PartName="/ppt/tags/tag293.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34.xml" ContentType="application/vnd.openxmlformats-officedocument.presentationml.tags+xml"/>
  <Override PartName="/ppt/tags/tag333.xml" ContentType="application/vnd.openxmlformats-officedocument.presentationml.tags+xml"/>
  <Override PartName="/ppt/tags/tag332.xml" ContentType="application/vnd.openxmlformats-officedocument.presentationml.tags+xml"/>
  <Override PartName="/ppt/tags/tag331.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30.xml" ContentType="application/vnd.openxmlformats-officedocument.presentationml.tags+xml"/>
  <Override PartName="/ppt/tags/tag329.xml" ContentType="application/vnd.openxmlformats-officedocument.presentationml.tags+xml"/>
  <Override PartName="/ppt/tags/tag32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18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10" r:id="rId1"/>
    <p:sldMasterId id="2147484137" r:id="rId2"/>
    <p:sldMasterId id="2147484163" r:id="rId3"/>
  </p:sldMasterIdLst>
  <p:notesMasterIdLst>
    <p:notesMasterId r:id="rId14"/>
  </p:notesMasterIdLst>
  <p:sldIdLst>
    <p:sldId id="413" r:id="rId4"/>
    <p:sldId id="414" r:id="rId5"/>
    <p:sldId id="415" r:id="rId6"/>
    <p:sldId id="416" r:id="rId7"/>
    <p:sldId id="391" r:id="rId8"/>
    <p:sldId id="412" r:id="rId9"/>
    <p:sldId id="411" r:id="rId10"/>
    <p:sldId id="302" r:id="rId11"/>
    <p:sldId id="419" r:id="rId12"/>
    <p:sldId id="418" r:id="rId13"/>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5C8C"/>
    <a:srgbClr val="FBBB4C"/>
    <a:srgbClr val="99D8F3"/>
    <a:srgbClr val="D80F5F"/>
    <a:srgbClr val="92B602"/>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65" autoAdjust="0"/>
    <p:restoredTop sz="94632" autoAdjust="0"/>
  </p:normalViewPr>
  <p:slideViewPr>
    <p:cSldViewPr snapToGrid="0" snapToObjects="1">
      <p:cViewPr varScale="1">
        <p:scale>
          <a:sx n="88" d="100"/>
          <a:sy n="88" d="100"/>
        </p:scale>
        <p:origin x="-1530" y="-108"/>
      </p:cViewPr>
      <p:guideLst>
        <p:guide orient="horz" pos="4256"/>
        <p:guide orient="horz" pos="251"/>
        <p:guide orient="horz" pos="1157"/>
        <p:guide orient="horz" pos="4057"/>
        <p:guide orient="horz" pos="1486"/>
        <p:guide orient="horz" pos="445"/>
        <p:guide orient="horz" pos="4142"/>
        <p:guide orient="horz" pos="3412"/>
        <p:guide orient="horz" pos="1699"/>
        <p:guide pos="232"/>
        <p:guide pos="6009"/>
        <p:guide pos="1622"/>
        <p:guide pos="3252"/>
        <p:guide pos="1292"/>
        <p:guide pos="3724"/>
        <p:guide pos="5431"/>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customXml" Target="../customXml/item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customXml" Target="../customXml/item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0359530530382E-2"/>
          <c:y val="5.8188038995125611E-2"/>
          <c:w val="0.93086392240802185"/>
          <c:h val="0.85010748656417945"/>
        </c:manualLayout>
      </c:layout>
      <c:lineChart>
        <c:grouping val="standard"/>
        <c:varyColors val="0"/>
        <c:ser>
          <c:idx val="0"/>
          <c:order val="0"/>
          <c:tx>
            <c:strRef>
              <c:f>Sheet1!$B$1</c:f>
              <c:strCache>
                <c:ptCount val="1"/>
                <c:pt idx="0">
                  <c:v>Reference</c:v>
                </c:pt>
              </c:strCache>
            </c:strRef>
          </c:tx>
          <c:spPr>
            <a:ln w="12700">
              <a:solidFill>
                <a:schemeClr val="accent1"/>
              </a:solidFill>
              <a:prstDash val="solid"/>
            </a:ln>
          </c:spPr>
          <c:marker>
            <c:symbol val="none"/>
          </c:marker>
          <c:cat>
            <c:numRef>
              <c:f>Sheet1!$A$2:$A$1247</c:f>
              <c:numCache>
                <c:formatCode>m/d/yyyy</c:formatCode>
                <c:ptCount val="1246"/>
                <c:pt idx="0">
                  <c:v>39769</c:v>
                </c:pt>
                <c:pt idx="1">
                  <c:v>39770</c:v>
                </c:pt>
                <c:pt idx="2">
                  <c:v>39771</c:v>
                </c:pt>
                <c:pt idx="3">
                  <c:v>39772</c:v>
                </c:pt>
                <c:pt idx="4">
                  <c:v>39773</c:v>
                </c:pt>
                <c:pt idx="5">
                  <c:v>39776</c:v>
                </c:pt>
                <c:pt idx="6">
                  <c:v>39777</c:v>
                </c:pt>
                <c:pt idx="7">
                  <c:v>39778</c:v>
                </c:pt>
                <c:pt idx="8">
                  <c:v>39779</c:v>
                </c:pt>
                <c:pt idx="9">
                  <c:v>39780</c:v>
                </c:pt>
                <c:pt idx="10">
                  <c:v>39783</c:v>
                </c:pt>
                <c:pt idx="11">
                  <c:v>39784</c:v>
                </c:pt>
                <c:pt idx="12">
                  <c:v>39785</c:v>
                </c:pt>
                <c:pt idx="13">
                  <c:v>39786</c:v>
                </c:pt>
                <c:pt idx="14">
                  <c:v>39787</c:v>
                </c:pt>
                <c:pt idx="15">
                  <c:v>39790</c:v>
                </c:pt>
                <c:pt idx="16">
                  <c:v>39791</c:v>
                </c:pt>
                <c:pt idx="17">
                  <c:v>39792</c:v>
                </c:pt>
                <c:pt idx="18">
                  <c:v>39793</c:v>
                </c:pt>
                <c:pt idx="19">
                  <c:v>39794</c:v>
                </c:pt>
                <c:pt idx="20">
                  <c:v>39797</c:v>
                </c:pt>
                <c:pt idx="21">
                  <c:v>39798</c:v>
                </c:pt>
                <c:pt idx="22">
                  <c:v>39799</c:v>
                </c:pt>
                <c:pt idx="23">
                  <c:v>39800</c:v>
                </c:pt>
                <c:pt idx="24">
                  <c:v>39801</c:v>
                </c:pt>
                <c:pt idx="25">
                  <c:v>39804</c:v>
                </c:pt>
                <c:pt idx="26">
                  <c:v>39805</c:v>
                </c:pt>
                <c:pt idx="27">
                  <c:v>39806</c:v>
                </c:pt>
                <c:pt idx="28">
                  <c:v>39811</c:v>
                </c:pt>
                <c:pt idx="29">
                  <c:v>39812</c:v>
                </c:pt>
                <c:pt idx="30">
                  <c:v>39813</c:v>
                </c:pt>
                <c:pt idx="31">
                  <c:v>39815</c:v>
                </c:pt>
                <c:pt idx="32">
                  <c:v>39818</c:v>
                </c:pt>
                <c:pt idx="33">
                  <c:v>39819</c:v>
                </c:pt>
                <c:pt idx="34">
                  <c:v>39820</c:v>
                </c:pt>
                <c:pt idx="35">
                  <c:v>39821</c:v>
                </c:pt>
                <c:pt idx="36">
                  <c:v>39822</c:v>
                </c:pt>
                <c:pt idx="37">
                  <c:v>39825</c:v>
                </c:pt>
                <c:pt idx="38">
                  <c:v>39826</c:v>
                </c:pt>
                <c:pt idx="39">
                  <c:v>39827</c:v>
                </c:pt>
                <c:pt idx="40">
                  <c:v>39828</c:v>
                </c:pt>
                <c:pt idx="41">
                  <c:v>39829</c:v>
                </c:pt>
                <c:pt idx="42">
                  <c:v>39832</c:v>
                </c:pt>
                <c:pt idx="43">
                  <c:v>39833</c:v>
                </c:pt>
                <c:pt idx="44">
                  <c:v>39834</c:v>
                </c:pt>
                <c:pt idx="45">
                  <c:v>39835</c:v>
                </c:pt>
                <c:pt idx="46">
                  <c:v>39836</c:v>
                </c:pt>
                <c:pt idx="47">
                  <c:v>39839</c:v>
                </c:pt>
                <c:pt idx="48">
                  <c:v>39840</c:v>
                </c:pt>
                <c:pt idx="49">
                  <c:v>39841</c:v>
                </c:pt>
                <c:pt idx="50">
                  <c:v>39842</c:v>
                </c:pt>
                <c:pt idx="51">
                  <c:v>39843</c:v>
                </c:pt>
                <c:pt idx="52">
                  <c:v>39846</c:v>
                </c:pt>
                <c:pt idx="53">
                  <c:v>39847</c:v>
                </c:pt>
                <c:pt idx="54">
                  <c:v>39848</c:v>
                </c:pt>
                <c:pt idx="55">
                  <c:v>39849</c:v>
                </c:pt>
                <c:pt idx="56">
                  <c:v>39850</c:v>
                </c:pt>
                <c:pt idx="57">
                  <c:v>39853</c:v>
                </c:pt>
                <c:pt idx="58">
                  <c:v>39854</c:v>
                </c:pt>
                <c:pt idx="59">
                  <c:v>39855</c:v>
                </c:pt>
                <c:pt idx="60">
                  <c:v>39856</c:v>
                </c:pt>
                <c:pt idx="61">
                  <c:v>39857</c:v>
                </c:pt>
                <c:pt idx="62">
                  <c:v>39860</c:v>
                </c:pt>
                <c:pt idx="63">
                  <c:v>39861</c:v>
                </c:pt>
                <c:pt idx="64">
                  <c:v>39862</c:v>
                </c:pt>
                <c:pt idx="65">
                  <c:v>39863</c:v>
                </c:pt>
                <c:pt idx="66">
                  <c:v>39864</c:v>
                </c:pt>
                <c:pt idx="67">
                  <c:v>39867</c:v>
                </c:pt>
                <c:pt idx="68">
                  <c:v>39868</c:v>
                </c:pt>
                <c:pt idx="69">
                  <c:v>39869</c:v>
                </c:pt>
                <c:pt idx="70">
                  <c:v>39870</c:v>
                </c:pt>
                <c:pt idx="71">
                  <c:v>39871</c:v>
                </c:pt>
                <c:pt idx="72">
                  <c:v>39874</c:v>
                </c:pt>
                <c:pt idx="73">
                  <c:v>39875</c:v>
                </c:pt>
                <c:pt idx="74">
                  <c:v>39876</c:v>
                </c:pt>
                <c:pt idx="75">
                  <c:v>39877</c:v>
                </c:pt>
                <c:pt idx="76">
                  <c:v>39878</c:v>
                </c:pt>
                <c:pt idx="77">
                  <c:v>39881</c:v>
                </c:pt>
                <c:pt idx="78">
                  <c:v>39882</c:v>
                </c:pt>
                <c:pt idx="79">
                  <c:v>39883</c:v>
                </c:pt>
                <c:pt idx="80">
                  <c:v>39884</c:v>
                </c:pt>
                <c:pt idx="81">
                  <c:v>39885</c:v>
                </c:pt>
                <c:pt idx="82">
                  <c:v>39888</c:v>
                </c:pt>
                <c:pt idx="83">
                  <c:v>39889</c:v>
                </c:pt>
                <c:pt idx="84">
                  <c:v>39890</c:v>
                </c:pt>
                <c:pt idx="85">
                  <c:v>39891</c:v>
                </c:pt>
                <c:pt idx="86">
                  <c:v>39892</c:v>
                </c:pt>
                <c:pt idx="87">
                  <c:v>39895</c:v>
                </c:pt>
                <c:pt idx="88">
                  <c:v>39896</c:v>
                </c:pt>
                <c:pt idx="89">
                  <c:v>39897</c:v>
                </c:pt>
                <c:pt idx="90">
                  <c:v>39898</c:v>
                </c:pt>
                <c:pt idx="91">
                  <c:v>39899</c:v>
                </c:pt>
                <c:pt idx="92">
                  <c:v>39902</c:v>
                </c:pt>
                <c:pt idx="93">
                  <c:v>39903</c:v>
                </c:pt>
                <c:pt idx="94">
                  <c:v>39904</c:v>
                </c:pt>
                <c:pt idx="95">
                  <c:v>39905</c:v>
                </c:pt>
                <c:pt idx="96">
                  <c:v>39906</c:v>
                </c:pt>
                <c:pt idx="97">
                  <c:v>39909</c:v>
                </c:pt>
                <c:pt idx="98">
                  <c:v>39910</c:v>
                </c:pt>
                <c:pt idx="99">
                  <c:v>39911</c:v>
                </c:pt>
                <c:pt idx="100">
                  <c:v>39912</c:v>
                </c:pt>
                <c:pt idx="101">
                  <c:v>39917</c:v>
                </c:pt>
                <c:pt idx="102">
                  <c:v>39918</c:v>
                </c:pt>
                <c:pt idx="103">
                  <c:v>39919</c:v>
                </c:pt>
                <c:pt idx="104">
                  <c:v>39920</c:v>
                </c:pt>
                <c:pt idx="105">
                  <c:v>39923</c:v>
                </c:pt>
                <c:pt idx="106">
                  <c:v>39924</c:v>
                </c:pt>
                <c:pt idx="107">
                  <c:v>39925</c:v>
                </c:pt>
                <c:pt idx="108">
                  <c:v>39926</c:v>
                </c:pt>
                <c:pt idx="109">
                  <c:v>39927</c:v>
                </c:pt>
                <c:pt idx="110">
                  <c:v>39930</c:v>
                </c:pt>
                <c:pt idx="111">
                  <c:v>39931</c:v>
                </c:pt>
                <c:pt idx="112">
                  <c:v>39932</c:v>
                </c:pt>
                <c:pt idx="113">
                  <c:v>39933</c:v>
                </c:pt>
                <c:pt idx="114">
                  <c:v>39934</c:v>
                </c:pt>
                <c:pt idx="115">
                  <c:v>39937</c:v>
                </c:pt>
                <c:pt idx="116">
                  <c:v>39938</c:v>
                </c:pt>
                <c:pt idx="117">
                  <c:v>39939</c:v>
                </c:pt>
                <c:pt idx="118">
                  <c:v>39940</c:v>
                </c:pt>
                <c:pt idx="119">
                  <c:v>39941</c:v>
                </c:pt>
                <c:pt idx="120">
                  <c:v>39944</c:v>
                </c:pt>
                <c:pt idx="121">
                  <c:v>39945</c:v>
                </c:pt>
                <c:pt idx="122">
                  <c:v>39946</c:v>
                </c:pt>
                <c:pt idx="123">
                  <c:v>39947</c:v>
                </c:pt>
                <c:pt idx="124">
                  <c:v>39948</c:v>
                </c:pt>
                <c:pt idx="125">
                  <c:v>39951</c:v>
                </c:pt>
                <c:pt idx="126">
                  <c:v>39952</c:v>
                </c:pt>
                <c:pt idx="127">
                  <c:v>39953</c:v>
                </c:pt>
                <c:pt idx="128">
                  <c:v>39954</c:v>
                </c:pt>
                <c:pt idx="129">
                  <c:v>39955</c:v>
                </c:pt>
                <c:pt idx="130">
                  <c:v>39958</c:v>
                </c:pt>
                <c:pt idx="131">
                  <c:v>39959</c:v>
                </c:pt>
                <c:pt idx="132">
                  <c:v>39960</c:v>
                </c:pt>
                <c:pt idx="133">
                  <c:v>39961</c:v>
                </c:pt>
                <c:pt idx="134">
                  <c:v>39962</c:v>
                </c:pt>
                <c:pt idx="135">
                  <c:v>39965</c:v>
                </c:pt>
                <c:pt idx="136">
                  <c:v>39966</c:v>
                </c:pt>
                <c:pt idx="137">
                  <c:v>39967</c:v>
                </c:pt>
                <c:pt idx="138">
                  <c:v>39968</c:v>
                </c:pt>
                <c:pt idx="139">
                  <c:v>39969</c:v>
                </c:pt>
                <c:pt idx="140">
                  <c:v>39972</c:v>
                </c:pt>
                <c:pt idx="141">
                  <c:v>39973</c:v>
                </c:pt>
                <c:pt idx="142">
                  <c:v>39974</c:v>
                </c:pt>
                <c:pt idx="143">
                  <c:v>39975</c:v>
                </c:pt>
                <c:pt idx="144">
                  <c:v>39976</c:v>
                </c:pt>
                <c:pt idx="145">
                  <c:v>39979</c:v>
                </c:pt>
                <c:pt idx="146">
                  <c:v>39980</c:v>
                </c:pt>
                <c:pt idx="147">
                  <c:v>39981</c:v>
                </c:pt>
                <c:pt idx="148">
                  <c:v>39982</c:v>
                </c:pt>
                <c:pt idx="149">
                  <c:v>39983</c:v>
                </c:pt>
                <c:pt idx="150">
                  <c:v>39986</c:v>
                </c:pt>
                <c:pt idx="151">
                  <c:v>39987</c:v>
                </c:pt>
                <c:pt idx="152">
                  <c:v>39988</c:v>
                </c:pt>
                <c:pt idx="153">
                  <c:v>39989</c:v>
                </c:pt>
                <c:pt idx="154">
                  <c:v>39990</c:v>
                </c:pt>
                <c:pt idx="155">
                  <c:v>39993</c:v>
                </c:pt>
                <c:pt idx="156">
                  <c:v>39994</c:v>
                </c:pt>
                <c:pt idx="157">
                  <c:v>39995</c:v>
                </c:pt>
                <c:pt idx="158">
                  <c:v>39996</c:v>
                </c:pt>
                <c:pt idx="159">
                  <c:v>39997</c:v>
                </c:pt>
                <c:pt idx="160">
                  <c:v>40000</c:v>
                </c:pt>
                <c:pt idx="161">
                  <c:v>40001</c:v>
                </c:pt>
                <c:pt idx="162">
                  <c:v>40002</c:v>
                </c:pt>
                <c:pt idx="163">
                  <c:v>40003</c:v>
                </c:pt>
                <c:pt idx="164">
                  <c:v>40004</c:v>
                </c:pt>
                <c:pt idx="165">
                  <c:v>40007</c:v>
                </c:pt>
                <c:pt idx="166">
                  <c:v>40008</c:v>
                </c:pt>
                <c:pt idx="167">
                  <c:v>40009</c:v>
                </c:pt>
                <c:pt idx="168">
                  <c:v>40010</c:v>
                </c:pt>
                <c:pt idx="169">
                  <c:v>40011</c:v>
                </c:pt>
                <c:pt idx="170">
                  <c:v>40014</c:v>
                </c:pt>
                <c:pt idx="171">
                  <c:v>40015</c:v>
                </c:pt>
                <c:pt idx="172">
                  <c:v>40016</c:v>
                </c:pt>
                <c:pt idx="173">
                  <c:v>40017</c:v>
                </c:pt>
                <c:pt idx="174">
                  <c:v>40018</c:v>
                </c:pt>
                <c:pt idx="175">
                  <c:v>40021</c:v>
                </c:pt>
                <c:pt idx="176">
                  <c:v>40022</c:v>
                </c:pt>
                <c:pt idx="177">
                  <c:v>40023</c:v>
                </c:pt>
                <c:pt idx="178">
                  <c:v>40024</c:v>
                </c:pt>
                <c:pt idx="179">
                  <c:v>40025</c:v>
                </c:pt>
                <c:pt idx="180">
                  <c:v>40028</c:v>
                </c:pt>
                <c:pt idx="181">
                  <c:v>40029</c:v>
                </c:pt>
                <c:pt idx="182">
                  <c:v>40030</c:v>
                </c:pt>
                <c:pt idx="183">
                  <c:v>40031</c:v>
                </c:pt>
                <c:pt idx="184">
                  <c:v>40032</c:v>
                </c:pt>
                <c:pt idx="185">
                  <c:v>40035</c:v>
                </c:pt>
                <c:pt idx="186">
                  <c:v>40036</c:v>
                </c:pt>
                <c:pt idx="187">
                  <c:v>40037</c:v>
                </c:pt>
                <c:pt idx="188">
                  <c:v>40038</c:v>
                </c:pt>
                <c:pt idx="189">
                  <c:v>40039</c:v>
                </c:pt>
                <c:pt idx="190">
                  <c:v>40042</c:v>
                </c:pt>
                <c:pt idx="191">
                  <c:v>40043</c:v>
                </c:pt>
                <c:pt idx="192">
                  <c:v>40044</c:v>
                </c:pt>
                <c:pt idx="193">
                  <c:v>40045</c:v>
                </c:pt>
                <c:pt idx="194">
                  <c:v>40046</c:v>
                </c:pt>
                <c:pt idx="195">
                  <c:v>40049</c:v>
                </c:pt>
                <c:pt idx="196">
                  <c:v>40050</c:v>
                </c:pt>
                <c:pt idx="197">
                  <c:v>40051</c:v>
                </c:pt>
                <c:pt idx="198">
                  <c:v>40052</c:v>
                </c:pt>
                <c:pt idx="199">
                  <c:v>40053</c:v>
                </c:pt>
                <c:pt idx="200">
                  <c:v>40056</c:v>
                </c:pt>
                <c:pt idx="201">
                  <c:v>40057</c:v>
                </c:pt>
                <c:pt idx="202">
                  <c:v>40058</c:v>
                </c:pt>
                <c:pt idx="203">
                  <c:v>40059</c:v>
                </c:pt>
                <c:pt idx="204">
                  <c:v>40060</c:v>
                </c:pt>
                <c:pt idx="205">
                  <c:v>40063</c:v>
                </c:pt>
                <c:pt idx="206">
                  <c:v>40064</c:v>
                </c:pt>
                <c:pt idx="207">
                  <c:v>40065</c:v>
                </c:pt>
                <c:pt idx="208">
                  <c:v>40066</c:v>
                </c:pt>
                <c:pt idx="209">
                  <c:v>40067</c:v>
                </c:pt>
                <c:pt idx="210">
                  <c:v>40070</c:v>
                </c:pt>
                <c:pt idx="211">
                  <c:v>40071</c:v>
                </c:pt>
                <c:pt idx="212">
                  <c:v>40072</c:v>
                </c:pt>
                <c:pt idx="213">
                  <c:v>40073</c:v>
                </c:pt>
                <c:pt idx="214">
                  <c:v>40074</c:v>
                </c:pt>
                <c:pt idx="215">
                  <c:v>40077</c:v>
                </c:pt>
                <c:pt idx="216">
                  <c:v>40078</c:v>
                </c:pt>
                <c:pt idx="217">
                  <c:v>40079</c:v>
                </c:pt>
                <c:pt idx="218">
                  <c:v>40080</c:v>
                </c:pt>
                <c:pt idx="219">
                  <c:v>40081</c:v>
                </c:pt>
                <c:pt idx="220">
                  <c:v>40084</c:v>
                </c:pt>
                <c:pt idx="221">
                  <c:v>40085</c:v>
                </c:pt>
                <c:pt idx="222">
                  <c:v>40086</c:v>
                </c:pt>
                <c:pt idx="223">
                  <c:v>40087</c:v>
                </c:pt>
                <c:pt idx="224">
                  <c:v>40088</c:v>
                </c:pt>
                <c:pt idx="225">
                  <c:v>40091</c:v>
                </c:pt>
                <c:pt idx="226">
                  <c:v>40092</c:v>
                </c:pt>
                <c:pt idx="227">
                  <c:v>40093</c:v>
                </c:pt>
                <c:pt idx="228">
                  <c:v>40094</c:v>
                </c:pt>
                <c:pt idx="229">
                  <c:v>40095</c:v>
                </c:pt>
                <c:pt idx="230">
                  <c:v>40098</c:v>
                </c:pt>
                <c:pt idx="231">
                  <c:v>40099</c:v>
                </c:pt>
                <c:pt idx="232">
                  <c:v>40100</c:v>
                </c:pt>
                <c:pt idx="233">
                  <c:v>40101</c:v>
                </c:pt>
                <c:pt idx="234">
                  <c:v>40102</c:v>
                </c:pt>
                <c:pt idx="235">
                  <c:v>40105</c:v>
                </c:pt>
                <c:pt idx="236">
                  <c:v>40106</c:v>
                </c:pt>
                <c:pt idx="237">
                  <c:v>40107</c:v>
                </c:pt>
                <c:pt idx="238">
                  <c:v>40108</c:v>
                </c:pt>
                <c:pt idx="239">
                  <c:v>40109</c:v>
                </c:pt>
                <c:pt idx="240">
                  <c:v>40112</c:v>
                </c:pt>
                <c:pt idx="241">
                  <c:v>40113</c:v>
                </c:pt>
                <c:pt idx="242">
                  <c:v>40114</c:v>
                </c:pt>
                <c:pt idx="243">
                  <c:v>40115</c:v>
                </c:pt>
                <c:pt idx="244">
                  <c:v>40116</c:v>
                </c:pt>
                <c:pt idx="245">
                  <c:v>40119</c:v>
                </c:pt>
                <c:pt idx="246">
                  <c:v>40120</c:v>
                </c:pt>
                <c:pt idx="247">
                  <c:v>40121</c:v>
                </c:pt>
                <c:pt idx="248">
                  <c:v>40122</c:v>
                </c:pt>
                <c:pt idx="249">
                  <c:v>40123</c:v>
                </c:pt>
                <c:pt idx="250">
                  <c:v>40126</c:v>
                </c:pt>
                <c:pt idx="251">
                  <c:v>40127</c:v>
                </c:pt>
                <c:pt idx="252">
                  <c:v>40128</c:v>
                </c:pt>
                <c:pt idx="253">
                  <c:v>40129</c:v>
                </c:pt>
                <c:pt idx="254">
                  <c:v>40130</c:v>
                </c:pt>
                <c:pt idx="255">
                  <c:v>40133</c:v>
                </c:pt>
                <c:pt idx="256">
                  <c:v>40134</c:v>
                </c:pt>
                <c:pt idx="257">
                  <c:v>40135</c:v>
                </c:pt>
                <c:pt idx="258">
                  <c:v>40136</c:v>
                </c:pt>
                <c:pt idx="259">
                  <c:v>40137</c:v>
                </c:pt>
                <c:pt idx="260">
                  <c:v>40140</c:v>
                </c:pt>
                <c:pt idx="261">
                  <c:v>40141</c:v>
                </c:pt>
                <c:pt idx="262">
                  <c:v>40142</c:v>
                </c:pt>
                <c:pt idx="263">
                  <c:v>40143</c:v>
                </c:pt>
                <c:pt idx="264">
                  <c:v>40144</c:v>
                </c:pt>
                <c:pt idx="265">
                  <c:v>40147</c:v>
                </c:pt>
                <c:pt idx="266">
                  <c:v>40148</c:v>
                </c:pt>
                <c:pt idx="267">
                  <c:v>40149</c:v>
                </c:pt>
                <c:pt idx="268">
                  <c:v>40150</c:v>
                </c:pt>
                <c:pt idx="269">
                  <c:v>40151</c:v>
                </c:pt>
                <c:pt idx="270">
                  <c:v>40154</c:v>
                </c:pt>
                <c:pt idx="271">
                  <c:v>40155</c:v>
                </c:pt>
                <c:pt idx="272">
                  <c:v>40156</c:v>
                </c:pt>
                <c:pt idx="273">
                  <c:v>40157</c:v>
                </c:pt>
                <c:pt idx="274">
                  <c:v>40158</c:v>
                </c:pt>
                <c:pt idx="275">
                  <c:v>40161</c:v>
                </c:pt>
                <c:pt idx="276">
                  <c:v>40162</c:v>
                </c:pt>
                <c:pt idx="277">
                  <c:v>40163</c:v>
                </c:pt>
                <c:pt idx="278">
                  <c:v>40164</c:v>
                </c:pt>
                <c:pt idx="279">
                  <c:v>40165</c:v>
                </c:pt>
                <c:pt idx="280">
                  <c:v>40168</c:v>
                </c:pt>
                <c:pt idx="281">
                  <c:v>40169</c:v>
                </c:pt>
                <c:pt idx="282">
                  <c:v>40170</c:v>
                </c:pt>
                <c:pt idx="283">
                  <c:v>40171</c:v>
                </c:pt>
                <c:pt idx="284">
                  <c:v>40175</c:v>
                </c:pt>
                <c:pt idx="285">
                  <c:v>40176</c:v>
                </c:pt>
                <c:pt idx="286">
                  <c:v>40177</c:v>
                </c:pt>
                <c:pt idx="287">
                  <c:v>40178</c:v>
                </c:pt>
                <c:pt idx="288">
                  <c:v>40182</c:v>
                </c:pt>
                <c:pt idx="289">
                  <c:v>40183</c:v>
                </c:pt>
                <c:pt idx="290">
                  <c:v>40184</c:v>
                </c:pt>
                <c:pt idx="291">
                  <c:v>40185</c:v>
                </c:pt>
                <c:pt idx="292">
                  <c:v>40186</c:v>
                </c:pt>
                <c:pt idx="293">
                  <c:v>40189</c:v>
                </c:pt>
                <c:pt idx="294">
                  <c:v>40190</c:v>
                </c:pt>
                <c:pt idx="295">
                  <c:v>40191</c:v>
                </c:pt>
                <c:pt idx="296">
                  <c:v>40192</c:v>
                </c:pt>
                <c:pt idx="297">
                  <c:v>40193</c:v>
                </c:pt>
                <c:pt idx="298">
                  <c:v>40196</c:v>
                </c:pt>
                <c:pt idx="299">
                  <c:v>40197</c:v>
                </c:pt>
                <c:pt idx="300">
                  <c:v>40198</c:v>
                </c:pt>
                <c:pt idx="301">
                  <c:v>40199</c:v>
                </c:pt>
                <c:pt idx="302">
                  <c:v>40200</c:v>
                </c:pt>
                <c:pt idx="303">
                  <c:v>40203</c:v>
                </c:pt>
                <c:pt idx="304">
                  <c:v>40204</c:v>
                </c:pt>
                <c:pt idx="305">
                  <c:v>40205</c:v>
                </c:pt>
                <c:pt idx="306">
                  <c:v>40206</c:v>
                </c:pt>
                <c:pt idx="307">
                  <c:v>40207</c:v>
                </c:pt>
                <c:pt idx="308">
                  <c:v>40210</c:v>
                </c:pt>
                <c:pt idx="309">
                  <c:v>40211</c:v>
                </c:pt>
                <c:pt idx="310">
                  <c:v>40212</c:v>
                </c:pt>
                <c:pt idx="311">
                  <c:v>40213</c:v>
                </c:pt>
                <c:pt idx="312">
                  <c:v>40214</c:v>
                </c:pt>
                <c:pt idx="313">
                  <c:v>40217</c:v>
                </c:pt>
                <c:pt idx="314">
                  <c:v>40218</c:v>
                </c:pt>
                <c:pt idx="315">
                  <c:v>40219</c:v>
                </c:pt>
                <c:pt idx="316">
                  <c:v>40220</c:v>
                </c:pt>
                <c:pt idx="317">
                  <c:v>40221</c:v>
                </c:pt>
                <c:pt idx="318">
                  <c:v>40224</c:v>
                </c:pt>
                <c:pt idx="319">
                  <c:v>40225</c:v>
                </c:pt>
                <c:pt idx="320">
                  <c:v>40226</c:v>
                </c:pt>
                <c:pt idx="321">
                  <c:v>40227</c:v>
                </c:pt>
                <c:pt idx="322">
                  <c:v>40228</c:v>
                </c:pt>
                <c:pt idx="323">
                  <c:v>40231</c:v>
                </c:pt>
                <c:pt idx="324">
                  <c:v>40232</c:v>
                </c:pt>
                <c:pt idx="325">
                  <c:v>40233</c:v>
                </c:pt>
                <c:pt idx="326">
                  <c:v>40234</c:v>
                </c:pt>
                <c:pt idx="327">
                  <c:v>40235</c:v>
                </c:pt>
                <c:pt idx="328">
                  <c:v>40238</c:v>
                </c:pt>
                <c:pt idx="329">
                  <c:v>40239</c:v>
                </c:pt>
                <c:pt idx="330">
                  <c:v>40240</c:v>
                </c:pt>
                <c:pt idx="331">
                  <c:v>40241</c:v>
                </c:pt>
                <c:pt idx="332">
                  <c:v>40242</c:v>
                </c:pt>
                <c:pt idx="333">
                  <c:v>40245</c:v>
                </c:pt>
                <c:pt idx="334">
                  <c:v>40246</c:v>
                </c:pt>
                <c:pt idx="335">
                  <c:v>40247</c:v>
                </c:pt>
                <c:pt idx="336">
                  <c:v>40248</c:v>
                </c:pt>
                <c:pt idx="337">
                  <c:v>40249</c:v>
                </c:pt>
                <c:pt idx="338">
                  <c:v>40252</c:v>
                </c:pt>
                <c:pt idx="339">
                  <c:v>40253</c:v>
                </c:pt>
                <c:pt idx="340">
                  <c:v>40254</c:v>
                </c:pt>
                <c:pt idx="341">
                  <c:v>40255</c:v>
                </c:pt>
                <c:pt idx="342">
                  <c:v>40256</c:v>
                </c:pt>
                <c:pt idx="343">
                  <c:v>40259</c:v>
                </c:pt>
                <c:pt idx="344">
                  <c:v>40260</c:v>
                </c:pt>
                <c:pt idx="345">
                  <c:v>40261</c:v>
                </c:pt>
                <c:pt idx="346">
                  <c:v>40262</c:v>
                </c:pt>
                <c:pt idx="347">
                  <c:v>40263</c:v>
                </c:pt>
                <c:pt idx="348">
                  <c:v>40266</c:v>
                </c:pt>
                <c:pt idx="349">
                  <c:v>40267</c:v>
                </c:pt>
                <c:pt idx="350">
                  <c:v>40268</c:v>
                </c:pt>
                <c:pt idx="351">
                  <c:v>40269</c:v>
                </c:pt>
                <c:pt idx="352">
                  <c:v>40274</c:v>
                </c:pt>
                <c:pt idx="353">
                  <c:v>40275</c:v>
                </c:pt>
                <c:pt idx="354">
                  <c:v>40276</c:v>
                </c:pt>
                <c:pt idx="355">
                  <c:v>40277</c:v>
                </c:pt>
                <c:pt idx="356">
                  <c:v>40280</c:v>
                </c:pt>
                <c:pt idx="357">
                  <c:v>40281</c:v>
                </c:pt>
                <c:pt idx="358">
                  <c:v>40282</c:v>
                </c:pt>
                <c:pt idx="359">
                  <c:v>40283</c:v>
                </c:pt>
                <c:pt idx="360">
                  <c:v>40284</c:v>
                </c:pt>
                <c:pt idx="361">
                  <c:v>40287</c:v>
                </c:pt>
                <c:pt idx="362">
                  <c:v>40288</c:v>
                </c:pt>
                <c:pt idx="363">
                  <c:v>40289</c:v>
                </c:pt>
                <c:pt idx="364">
                  <c:v>40290</c:v>
                </c:pt>
                <c:pt idx="365">
                  <c:v>40291</c:v>
                </c:pt>
                <c:pt idx="366">
                  <c:v>40294</c:v>
                </c:pt>
                <c:pt idx="367">
                  <c:v>40295</c:v>
                </c:pt>
                <c:pt idx="368">
                  <c:v>40296</c:v>
                </c:pt>
                <c:pt idx="369">
                  <c:v>40297</c:v>
                </c:pt>
                <c:pt idx="370">
                  <c:v>40298</c:v>
                </c:pt>
                <c:pt idx="371">
                  <c:v>40301</c:v>
                </c:pt>
                <c:pt idx="372">
                  <c:v>40302</c:v>
                </c:pt>
                <c:pt idx="373">
                  <c:v>40303</c:v>
                </c:pt>
                <c:pt idx="374">
                  <c:v>40304</c:v>
                </c:pt>
                <c:pt idx="375">
                  <c:v>40305</c:v>
                </c:pt>
                <c:pt idx="376">
                  <c:v>40308</c:v>
                </c:pt>
                <c:pt idx="377">
                  <c:v>40309</c:v>
                </c:pt>
                <c:pt idx="378">
                  <c:v>40310</c:v>
                </c:pt>
                <c:pt idx="379">
                  <c:v>40311</c:v>
                </c:pt>
                <c:pt idx="380">
                  <c:v>40312</c:v>
                </c:pt>
                <c:pt idx="381">
                  <c:v>40315</c:v>
                </c:pt>
                <c:pt idx="382">
                  <c:v>40316</c:v>
                </c:pt>
                <c:pt idx="383">
                  <c:v>40317</c:v>
                </c:pt>
                <c:pt idx="384">
                  <c:v>40318</c:v>
                </c:pt>
                <c:pt idx="385">
                  <c:v>40319</c:v>
                </c:pt>
                <c:pt idx="386">
                  <c:v>40322</c:v>
                </c:pt>
                <c:pt idx="387">
                  <c:v>40323</c:v>
                </c:pt>
                <c:pt idx="388">
                  <c:v>40324</c:v>
                </c:pt>
                <c:pt idx="389">
                  <c:v>40325</c:v>
                </c:pt>
                <c:pt idx="390">
                  <c:v>40326</c:v>
                </c:pt>
                <c:pt idx="391">
                  <c:v>40329</c:v>
                </c:pt>
                <c:pt idx="392">
                  <c:v>40330</c:v>
                </c:pt>
                <c:pt idx="393">
                  <c:v>40331</c:v>
                </c:pt>
                <c:pt idx="394">
                  <c:v>40332</c:v>
                </c:pt>
                <c:pt idx="395">
                  <c:v>40333</c:v>
                </c:pt>
                <c:pt idx="396">
                  <c:v>40336</c:v>
                </c:pt>
                <c:pt idx="397">
                  <c:v>40337</c:v>
                </c:pt>
                <c:pt idx="398">
                  <c:v>40338</c:v>
                </c:pt>
                <c:pt idx="399">
                  <c:v>40339</c:v>
                </c:pt>
                <c:pt idx="400">
                  <c:v>40340</c:v>
                </c:pt>
                <c:pt idx="401">
                  <c:v>40343</c:v>
                </c:pt>
                <c:pt idx="402">
                  <c:v>40344</c:v>
                </c:pt>
                <c:pt idx="403">
                  <c:v>40345</c:v>
                </c:pt>
                <c:pt idx="404">
                  <c:v>40346</c:v>
                </c:pt>
                <c:pt idx="405">
                  <c:v>40347</c:v>
                </c:pt>
                <c:pt idx="406">
                  <c:v>40350</c:v>
                </c:pt>
                <c:pt idx="407">
                  <c:v>40351</c:v>
                </c:pt>
                <c:pt idx="408">
                  <c:v>40352</c:v>
                </c:pt>
                <c:pt idx="409">
                  <c:v>40353</c:v>
                </c:pt>
                <c:pt idx="410">
                  <c:v>40354</c:v>
                </c:pt>
                <c:pt idx="411">
                  <c:v>40357</c:v>
                </c:pt>
                <c:pt idx="412">
                  <c:v>40358</c:v>
                </c:pt>
                <c:pt idx="413">
                  <c:v>40359</c:v>
                </c:pt>
                <c:pt idx="414">
                  <c:v>40360</c:v>
                </c:pt>
                <c:pt idx="415">
                  <c:v>40361</c:v>
                </c:pt>
                <c:pt idx="416">
                  <c:v>40364</c:v>
                </c:pt>
                <c:pt idx="417">
                  <c:v>40365</c:v>
                </c:pt>
                <c:pt idx="418">
                  <c:v>40366</c:v>
                </c:pt>
                <c:pt idx="419">
                  <c:v>40367</c:v>
                </c:pt>
                <c:pt idx="420">
                  <c:v>40368</c:v>
                </c:pt>
                <c:pt idx="421">
                  <c:v>40371</c:v>
                </c:pt>
                <c:pt idx="422">
                  <c:v>40372</c:v>
                </c:pt>
                <c:pt idx="423">
                  <c:v>40373</c:v>
                </c:pt>
                <c:pt idx="424">
                  <c:v>40374</c:v>
                </c:pt>
                <c:pt idx="425">
                  <c:v>40375</c:v>
                </c:pt>
                <c:pt idx="426">
                  <c:v>40378</c:v>
                </c:pt>
                <c:pt idx="427">
                  <c:v>40379</c:v>
                </c:pt>
                <c:pt idx="428">
                  <c:v>40380</c:v>
                </c:pt>
                <c:pt idx="429">
                  <c:v>40381</c:v>
                </c:pt>
                <c:pt idx="430">
                  <c:v>40382</c:v>
                </c:pt>
                <c:pt idx="431">
                  <c:v>40385</c:v>
                </c:pt>
                <c:pt idx="432">
                  <c:v>40386</c:v>
                </c:pt>
                <c:pt idx="433">
                  <c:v>40387</c:v>
                </c:pt>
                <c:pt idx="434">
                  <c:v>40388</c:v>
                </c:pt>
                <c:pt idx="435">
                  <c:v>40389</c:v>
                </c:pt>
                <c:pt idx="436">
                  <c:v>40392</c:v>
                </c:pt>
                <c:pt idx="437">
                  <c:v>40393</c:v>
                </c:pt>
                <c:pt idx="438">
                  <c:v>40394</c:v>
                </c:pt>
                <c:pt idx="439">
                  <c:v>40395</c:v>
                </c:pt>
                <c:pt idx="440">
                  <c:v>40396</c:v>
                </c:pt>
                <c:pt idx="441">
                  <c:v>40399</c:v>
                </c:pt>
                <c:pt idx="442">
                  <c:v>40400</c:v>
                </c:pt>
                <c:pt idx="443">
                  <c:v>40401</c:v>
                </c:pt>
                <c:pt idx="444">
                  <c:v>40402</c:v>
                </c:pt>
                <c:pt idx="445">
                  <c:v>40403</c:v>
                </c:pt>
                <c:pt idx="446">
                  <c:v>40406</c:v>
                </c:pt>
                <c:pt idx="447">
                  <c:v>40407</c:v>
                </c:pt>
                <c:pt idx="448">
                  <c:v>40408</c:v>
                </c:pt>
                <c:pt idx="449">
                  <c:v>40409</c:v>
                </c:pt>
                <c:pt idx="450">
                  <c:v>40410</c:v>
                </c:pt>
                <c:pt idx="451">
                  <c:v>40413</c:v>
                </c:pt>
                <c:pt idx="452">
                  <c:v>40414</c:v>
                </c:pt>
                <c:pt idx="453">
                  <c:v>40415</c:v>
                </c:pt>
                <c:pt idx="454">
                  <c:v>40416</c:v>
                </c:pt>
                <c:pt idx="455">
                  <c:v>40417</c:v>
                </c:pt>
                <c:pt idx="456">
                  <c:v>40420</c:v>
                </c:pt>
                <c:pt idx="457">
                  <c:v>40421</c:v>
                </c:pt>
                <c:pt idx="458">
                  <c:v>40422</c:v>
                </c:pt>
                <c:pt idx="459">
                  <c:v>40423</c:v>
                </c:pt>
                <c:pt idx="460">
                  <c:v>40424</c:v>
                </c:pt>
                <c:pt idx="461">
                  <c:v>40427</c:v>
                </c:pt>
                <c:pt idx="462">
                  <c:v>40428</c:v>
                </c:pt>
                <c:pt idx="463">
                  <c:v>40429</c:v>
                </c:pt>
                <c:pt idx="464">
                  <c:v>40430</c:v>
                </c:pt>
                <c:pt idx="465">
                  <c:v>40431</c:v>
                </c:pt>
                <c:pt idx="466">
                  <c:v>40434</c:v>
                </c:pt>
                <c:pt idx="467">
                  <c:v>40435</c:v>
                </c:pt>
                <c:pt idx="468">
                  <c:v>40436</c:v>
                </c:pt>
                <c:pt idx="469">
                  <c:v>40437</c:v>
                </c:pt>
                <c:pt idx="470">
                  <c:v>40438</c:v>
                </c:pt>
                <c:pt idx="471">
                  <c:v>40441</c:v>
                </c:pt>
                <c:pt idx="472">
                  <c:v>40442</c:v>
                </c:pt>
                <c:pt idx="473">
                  <c:v>40443</c:v>
                </c:pt>
                <c:pt idx="474">
                  <c:v>40444</c:v>
                </c:pt>
                <c:pt idx="475">
                  <c:v>40445</c:v>
                </c:pt>
                <c:pt idx="476">
                  <c:v>40448</c:v>
                </c:pt>
                <c:pt idx="477">
                  <c:v>40449</c:v>
                </c:pt>
                <c:pt idx="478">
                  <c:v>40450</c:v>
                </c:pt>
                <c:pt idx="479">
                  <c:v>40451</c:v>
                </c:pt>
                <c:pt idx="480">
                  <c:v>40452</c:v>
                </c:pt>
                <c:pt idx="481">
                  <c:v>40455</c:v>
                </c:pt>
                <c:pt idx="482">
                  <c:v>40456</c:v>
                </c:pt>
                <c:pt idx="483">
                  <c:v>40457</c:v>
                </c:pt>
                <c:pt idx="484">
                  <c:v>40458</c:v>
                </c:pt>
                <c:pt idx="485">
                  <c:v>40459</c:v>
                </c:pt>
                <c:pt idx="486">
                  <c:v>40462</c:v>
                </c:pt>
                <c:pt idx="487">
                  <c:v>40463</c:v>
                </c:pt>
                <c:pt idx="488">
                  <c:v>40464</c:v>
                </c:pt>
                <c:pt idx="489">
                  <c:v>40465</c:v>
                </c:pt>
                <c:pt idx="490">
                  <c:v>40466</c:v>
                </c:pt>
                <c:pt idx="491">
                  <c:v>40469</c:v>
                </c:pt>
                <c:pt idx="492">
                  <c:v>40470</c:v>
                </c:pt>
                <c:pt idx="493">
                  <c:v>40471</c:v>
                </c:pt>
                <c:pt idx="494">
                  <c:v>40472</c:v>
                </c:pt>
                <c:pt idx="495">
                  <c:v>40473</c:v>
                </c:pt>
                <c:pt idx="496">
                  <c:v>40476</c:v>
                </c:pt>
                <c:pt idx="497">
                  <c:v>40477</c:v>
                </c:pt>
                <c:pt idx="498">
                  <c:v>40478</c:v>
                </c:pt>
                <c:pt idx="499">
                  <c:v>40479</c:v>
                </c:pt>
                <c:pt idx="500">
                  <c:v>40480</c:v>
                </c:pt>
                <c:pt idx="501">
                  <c:v>40483</c:v>
                </c:pt>
                <c:pt idx="502">
                  <c:v>40484</c:v>
                </c:pt>
                <c:pt idx="503">
                  <c:v>40485</c:v>
                </c:pt>
                <c:pt idx="504">
                  <c:v>40486</c:v>
                </c:pt>
                <c:pt idx="505">
                  <c:v>40487</c:v>
                </c:pt>
                <c:pt idx="506">
                  <c:v>40490</c:v>
                </c:pt>
                <c:pt idx="507">
                  <c:v>40491</c:v>
                </c:pt>
                <c:pt idx="508">
                  <c:v>40492</c:v>
                </c:pt>
                <c:pt idx="509">
                  <c:v>40493</c:v>
                </c:pt>
                <c:pt idx="510">
                  <c:v>40494</c:v>
                </c:pt>
                <c:pt idx="511">
                  <c:v>40497</c:v>
                </c:pt>
                <c:pt idx="512">
                  <c:v>40498</c:v>
                </c:pt>
                <c:pt idx="513">
                  <c:v>40499</c:v>
                </c:pt>
                <c:pt idx="514">
                  <c:v>40500</c:v>
                </c:pt>
                <c:pt idx="515">
                  <c:v>40501</c:v>
                </c:pt>
                <c:pt idx="516">
                  <c:v>40504</c:v>
                </c:pt>
                <c:pt idx="517">
                  <c:v>40505</c:v>
                </c:pt>
                <c:pt idx="518">
                  <c:v>40506</c:v>
                </c:pt>
                <c:pt idx="519">
                  <c:v>40507</c:v>
                </c:pt>
                <c:pt idx="520">
                  <c:v>40508</c:v>
                </c:pt>
                <c:pt idx="521">
                  <c:v>40511</c:v>
                </c:pt>
                <c:pt idx="522">
                  <c:v>40512</c:v>
                </c:pt>
                <c:pt idx="523">
                  <c:v>40513</c:v>
                </c:pt>
                <c:pt idx="524">
                  <c:v>40514</c:v>
                </c:pt>
                <c:pt idx="525">
                  <c:v>40515</c:v>
                </c:pt>
                <c:pt idx="526">
                  <c:v>40518</c:v>
                </c:pt>
                <c:pt idx="527">
                  <c:v>40519</c:v>
                </c:pt>
                <c:pt idx="528">
                  <c:v>40520</c:v>
                </c:pt>
                <c:pt idx="529">
                  <c:v>40521</c:v>
                </c:pt>
                <c:pt idx="530">
                  <c:v>40522</c:v>
                </c:pt>
                <c:pt idx="531">
                  <c:v>40525</c:v>
                </c:pt>
                <c:pt idx="532">
                  <c:v>40526</c:v>
                </c:pt>
                <c:pt idx="533">
                  <c:v>40527</c:v>
                </c:pt>
                <c:pt idx="534">
                  <c:v>40528</c:v>
                </c:pt>
                <c:pt idx="535">
                  <c:v>40529</c:v>
                </c:pt>
                <c:pt idx="536">
                  <c:v>40532</c:v>
                </c:pt>
                <c:pt idx="537">
                  <c:v>40533</c:v>
                </c:pt>
                <c:pt idx="538">
                  <c:v>40534</c:v>
                </c:pt>
                <c:pt idx="539">
                  <c:v>40535</c:v>
                </c:pt>
                <c:pt idx="540">
                  <c:v>40536</c:v>
                </c:pt>
                <c:pt idx="541">
                  <c:v>40539</c:v>
                </c:pt>
                <c:pt idx="542">
                  <c:v>40540</c:v>
                </c:pt>
                <c:pt idx="543">
                  <c:v>40541</c:v>
                </c:pt>
                <c:pt idx="544">
                  <c:v>40542</c:v>
                </c:pt>
                <c:pt idx="545">
                  <c:v>40543</c:v>
                </c:pt>
                <c:pt idx="546">
                  <c:v>40546</c:v>
                </c:pt>
                <c:pt idx="547">
                  <c:v>40547</c:v>
                </c:pt>
                <c:pt idx="548">
                  <c:v>40548</c:v>
                </c:pt>
                <c:pt idx="549">
                  <c:v>40549</c:v>
                </c:pt>
                <c:pt idx="550">
                  <c:v>40550</c:v>
                </c:pt>
                <c:pt idx="551">
                  <c:v>40553</c:v>
                </c:pt>
                <c:pt idx="552">
                  <c:v>40554</c:v>
                </c:pt>
                <c:pt idx="553">
                  <c:v>40555</c:v>
                </c:pt>
                <c:pt idx="554">
                  <c:v>40556</c:v>
                </c:pt>
                <c:pt idx="555">
                  <c:v>40557</c:v>
                </c:pt>
                <c:pt idx="556">
                  <c:v>40560</c:v>
                </c:pt>
                <c:pt idx="557">
                  <c:v>40561</c:v>
                </c:pt>
                <c:pt idx="558">
                  <c:v>40562</c:v>
                </c:pt>
                <c:pt idx="559">
                  <c:v>40563</c:v>
                </c:pt>
                <c:pt idx="560">
                  <c:v>40564</c:v>
                </c:pt>
                <c:pt idx="561">
                  <c:v>40567</c:v>
                </c:pt>
                <c:pt idx="562">
                  <c:v>40568</c:v>
                </c:pt>
                <c:pt idx="563">
                  <c:v>40569</c:v>
                </c:pt>
                <c:pt idx="564">
                  <c:v>40570</c:v>
                </c:pt>
                <c:pt idx="565">
                  <c:v>40571</c:v>
                </c:pt>
                <c:pt idx="566">
                  <c:v>40574</c:v>
                </c:pt>
                <c:pt idx="567">
                  <c:v>40575</c:v>
                </c:pt>
                <c:pt idx="568">
                  <c:v>40576</c:v>
                </c:pt>
                <c:pt idx="569">
                  <c:v>40577</c:v>
                </c:pt>
                <c:pt idx="570">
                  <c:v>40578</c:v>
                </c:pt>
                <c:pt idx="571">
                  <c:v>40581</c:v>
                </c:pt>
                <c:pt idx="572">
                  <c:v>40582</c:v>
                </c:pt>
                <c:pt idx="573">
                  <c:v>40583</c:v>
                </c:pt>
                <c:pt idx="574">
                  <c:v>40584</c:v>
                </c:pt>
                <c:pt idx="575">
                  <c:v>40585</c:v>
                </c:pt>
                <c:pt idx="576">
                  <c:v>40588</c:v>
                </c:pt>
                <c:pt idx="577">
                  <c:v>40589</c:v>
                </c:pt>
                <c:pt idx="578">
                  <c:v>40590</c:v>
                </c:pt>
                <c:pt idx="579">
                  <c:v>40591</c:v>
                </c:pt>
                <c:pt idx="580">
                  <c:v>40592</c:v>
                </c:pt>
                <c:pt idx="581">
                  <c:v>40595</c:v>
                </c:pt>
                <c:pt idx="582">
                  <c:v>40596</c:v>
                </c:pt>
                <c:pt idx="583">
                  <c:v>40597</c:v>
                </c:pt>
                <c:pt idx="584">
                  <c:v>40598</c:v>
                </c:pt>
                <c:pt idx="585">
                  <c:v>40599</c:v>
                </c:pt>
                <c:pt idx="586">
                  <c:v>40602</c:v>
                </c:pt>
                <c:pt idx="587">
                  <c:v>40603</c:v>
                </c:pt>
                <c:pt idx="588">
                  <c:v>40604</c:v>
                </c:pt>
                <c:pt idx="589">
                  <c:v>40605</c:v>
                </c:pt>
                <c:pt idx="590">
                  <c:v>40606</c:v>
                </c:pt>
                <c:pt idx="591">
                  <c:v>40609</c:v>
                </c:pt>
                <c:pt idx="592">
                  <c:v>40610</c:v>
                </c:pt>
                <c:pt idx="593">
                  <c:v>40611</c:v>
                </c:pt>
                <c:pt idx="594">
                  <c:v>40612</c:v>
                </c:pt>
                <c:pt idx="595">
                  <c:v>40613</c:v>
                </c:pt>
                <c:pt idx="596">
                  <c:v>40616</c:v>
                </c:pt>
                <c:pt idx="597">
                  <c:v>40617</c:v>
                </c:pt>
                <c:pt idx="598">
                  <c:v>40618</c:v>
                </c:pt>
                <c:pt idx="599">
                  <c:v>40619</c:v>
                </c:pt>
                <c:pt idx="600">
                  <c:v>40620</c:v>
                </c:pt>
                <c:pt idx="601">
                  <c:v>40623</c:v>
                </c:pt>
                <c:pt idx="602">
                  <c:v>40624</c:v>
                </c:pt>
                <c:pt idx="603">
                  <c:v>40625</c:v>
                </c:pt>
                <c:pt idx="604">
                  <c:v>40626</c:v>
                </c:pt>
                <c:pt idx="605">
                  <c:v>40627</c:v>
                </c:pt>
                <c:pt idx="606">
                  <c:v>40630</c:v>
                </c:pt>
                <c:pt idx="607">
                  <c:v>40631</c:v>
                </c:pt>
                <c:pt idx="608">
                  <c:v>40632</c:v>
                </c:pt>
                <c:pt idx="609">
                  <c:v>40633</c:v>
                </c:pt>
                <c:pt idx="610">
                  <c:v>40634</c:v>
                </c:pt>
                <c:pt idx="611">
                  <c:v>40637</c:v>
                </c:pt>
                <c:pt idx="612">
                  <c:v>40638</c:v>
                </c:pt>
                <c:pt idx="613">
                  <c:v>40639</c:v>
                </c:pt>
                <c:pt idx="614">
                  <c:v>40640</c:v>
                </c:pt>
                <c:pt idx="615">
                  <c:v>40641</c:v>
                </c:pt>
                <c:pt idx="616">
                  <c:v>40644</c:v>
                </c:pt>
                <c:pt idx="617">
                  <c:v>40645</c:v>
                </c:pt>
                <c:pt idx="618">
                  <c:v>40646</c:v>
                </c:pt>
                <c:pt idx="619">
                  <c:v>40647</c:v>
                </c:pt>
                <c:pt idx="620">
                  <c:v>40648</c:v>
                </c:pt>
                <c:pt idx="621">
                  <c:v>40651</c:v>
                </c:pt>
                <c:pt idx="622">
                  <c:v>40652</c:v>
                </c:pt>
                <c:pt idx="623">
                  <c:v>40653</c:v>
                </c:pt>
                <c:pt idx="624">
                  <c:v>40654</c:v>
                </c:pt>
                <c:pt idx="625">
                  <c:v>40659</c:v>
                </c:pt>
                <c:pt idx="626">
                  <c:v>40660</c:v>
                </c:pt>
                <c:pt idx="627">
                  <c:v>40661</c:v>
                </c:pt>
                <c:pt idx="628">
                  <c:v>40662</c:v>
                </c:pt>
                <c:pt idx="629">
                  <c:v>40665</c:v>
                </c:pt>
                <c:pt idx="630">
                  <c:v>40666</c:v>
                </c:pt>
                <c:pt idx="631">
                  <c:v>40667</c:v>
                </c:pt>
                <c:pt idx="632">
                  <c:v>40668</c:v>
                </c:pt>
                <c:pt idx="633">
                  <c:v>40669</c:v>
                </c:pt>
                <c:pt idx="634">
                  <c:v>40672</c:v>
                </c:pt>
                <c:pt idx="635">
                  <c:v>40673</c:v>
                </c:pt>
                <c:pt idx="636">
                  <c:v>40674</c:v>
                </c:pt>
                <c:pt idx="637">
                  <c:v>40675</c:v>
                </c:pt>
                <c:pt idx="638">
                  <c:v>40676</c:v>
                </c:pt>
                <c:pt idx="639">
                  <c:v>40679</c:v>
                </c:pt>
                <c:pt idx="640">
                  <c:v>40680</c:v>
                </c:pt>
                <c:pt idx="641">
                  <c:v>40681</c:v>
                </c:pt>
                <c:pt idx="642">
                  <c:v>40682</c:v>
                </c:pt>
                <c:pt idx="643">
                  <c:v>40683</c:v>
                </c:pt>
                <c:pt idx="644">
                  <c:v>40686</c:v>
                </c:pt>
                <c:pt idx="645">
                  <c:v>40687</c:v>
                </c:pt>
                <c:pt idx="646">
                  <c:v>40688</c:v>
                </c:pt>
                <c:pt idx="647">
                  <c:v>40689</c:v>
                </c:pt>
                <c:pt idx="648">
                  <c:v>40690</c:v>
                </c:pt>
                <c:pt idx="649">
                  <c:v>40693</c:v>
                </c:pt>
                <c:pt idx="650">
                  <c:v>40694</c:v>
                </c:pt>
                <c:pt idx="651">
                  <c:v>40695</c:v>
                </c:pt>
                <c:pt idx="652">
                  <c:v>40696</c:v>
                </c:pt>
                <c:pt idx="653">
                  <c:v>40697</c:v>
                </c:pt>
                <c:pt idx="654">
                  <c:v>40700</c:v>
                </c:pt>
                <c:pt idx="655">
                  <c:v>40701</c:v>
                </c:pt>
                <c:pt idx="656">
                  <c:v>40702</c:v>
                </c:pt>
                <c:pt idx="657">
                  <c:v>40703</c:v>
                </c:pt>
                <c:pt idx="658">
                  <c:v>40704</c:v>
                </c:pt>
                <c:pt idx="659">
                  <c:v>40707</c:v>
                </c:pt>
                <c:pt idx="660">
                  <c:v>40708</c:v>
                </c:pt>
                <c:pt idx="661">
                  <c:v>40709</c:v>
                </c:pt>
                <c:pt idx="662">
                  <c:v>40710</c:v>
                </c:pt>
                <c:pt idx="663">
                  <c:v>40711</c:v>
                </c:pt>
                <c:pt idx="664">
                  <c:v>40714</c:v>
                </c:pt>
                <c:pt idx="665">
                  <c:v>40715</c:v>
                </c:pt>
                <c:pt idx="666">
                  <c:v>40716</c:v>
                </c:pt>
                <c:pt idx="667">
                  <c:v>40717</c:v>
                </c:pt>
                <c:pt idx="668">
                  <c:v>40718</c:v>
                </c:pt>
                <c:pt idx="669">
                  <c:v>40721</c:v>
                </c:pt>
                <c:pt idx="670">
                  <c:v>40722</c:v>
                </c:pt>
                <c:pt idx="671">
                  <c:v>40723</c:v>
                </c:pt>
                <c:pt idx="672">
                  <c:v>40724</c:v>
                </c:pt>
                <c:pt idx="673">
                  <c:v>40725</c:v>
                </c:pt>
                <c:pt idx="674">
                  <c:v>40728</c:v>
                </c:pt>
                <c:pt idx="675">
                  <c:v>40729</c:v>
                </c:pt>
                <c:pt idx="676">
                  <c:v>40730</c:v>
                </c:pt>
                <c:pt idx="677">
                  <c:v>40731</c:v>
                </c:pt>
                <c:pt idx="678">
                  <c:v>40732</c:v>
                </c:pt>
                <c:pt idx="679">
                  <c:v>40735</c:v>
                </c:pt>
                <c:pt idx="680">
                  <c:v>40736</c:v>
                </c:pt>
                <c:pt idx="681">
                  <c:v>40737</c:v>
                </c:pt>
                <c:pt idx="682">
                  <c:v>40738</c:v>
                </c:pt>
                <c:pt idx="683">
                  <c:v>40739</c:v>
                </c:pt>
                <c:pt idx="684">
                  <c:v>40742</c:v>
                </c:pt>
                <c:pt idx="685">
                  <c:v>40743</c:v>
                </c:pt>
                <c:pt idx="686">
                  <c:v>40744</c:v>
                </c:pt>
                <c:pt idx="687">
                  <c:v>40745</c:v>
                </c:pt>
                <c:pt idx="688">
                  <c:v>40746</c:v>
                </c:pt>
                <c:pt idx="689">
                  <c:v>40749</c:v>
                </c:pt>
                <c:pt idx="690">
                  <c:v>40750</c:v>
                </c:pt>
                <c:pt idx="691">
                  <c:v>40751</c:v>
                </c:pt>
                <c:pt idx="692">
                  <c:v>40752</c:v>
                </c:pt>
                <c:pt idx="693">
                  <c:v>40753</c:v>
                </c:pt>
                <c:pt idx="694">
                  <c:v>40756</c:v>
                </c:pt>
                <c:pt idx="695">
                  <c:v>40757</c:v>
                </c:pt>
                <c:pt idx="696">
                  <c:v>40758</c:v>
                </c:pt>
                <c:pt idx="697">
                  <c:v>40759</c:v>
                </c:pt>
                <c:pt idx="698">
                  <c:v>40760</c:v>
                </c:pt>
                <c:pt idx="699">
                  <c:v>40763</c:v>
                </c:pt>
                <c:pt idx="700">
                  <c:v>40764</c:v>
                </c:pt>
                <c:pt idx="701">
                  <c:v>40765</c:v>
                </c:pt>
                <c:pt idx="702">
                  <c:v>40766</c:v>
                </c:pt>
                <c:pt idx="703">
                  <c:v>40767</c:v>
                </c:pt>
                <c:pt idx="704">
                  <c:v>40770</c:v>
                </c:pt>
                <c:pt idx="705">
                  <c:v>40771</c:v>
                </c:pt>
                <c:pt idx="706">
                  <c:v>40772</c:v>
                </c:pt>
                <c:pt idx="707">
                  <c:v>40773</c:v>
                </c:pt>
                <c:pt idx="708">
                  <c:v>40774</c:v>
                </c:pt>
                <c:pt idx="709">
                  <c:v>40777</c:v>
                </c:pt>
                <c:pt idx="710">
                  <c:v>40778</c:v>
                </c:pt>
                <c:pt idx="711">
                  <c:v>40779</c:v>
                </c:pt>
                <c:pt idx="712">
                  <c:v>40780</c:v>
                </c:pt>
                <c:pt idx="713">
                  <c:v>40781</c:v>
                </c:pt>
                <c:pt idx="714">
                  <c:v>40784</c:v>
                </c:pt>
                <c:pt idx="715">
                  <c:v>40785</c:v>
                </c:pt>
                <c:pt idx="716">
                  <c:v>40786</c:v>
                </c:pt>
                <c:pt idx="717">
                  <c:v>40787</c:v>
                </c:pt>
                <c:pt idx="718">
                  <c:v>40788</c:v>
                </c:pt>
                <c:pt idx="719">
                  <c:v>40791</c:v>
                </c:pt>
                <c:pt idx="720">
                  <c:v>40792</c:v>
                </c:pt>
                <c:pt idx="721">
                  <c:v>40793</c:v>
                </c:pt>
                <c:pt idx="722">
                  <c:v>40794</c:v>
                </c:pt>
                <c:pt idx="723">
                  <c:v>40795</c:v>
                </c:pt>
                <c:pt idx="724">
                  <c:v>40798</c:v>
                </c:pt>
                <c:pt idx="725">
                  <c:v>40799</c:v>
                </c:pt>
                <c:pt idx="726">
                  <c:v>40800</c:v>
                </c:pt>
                <c:pt idx="727">
                  <c:v>40801</c:v>
                </c:pt>
                <c:pt idx="728">
                  <c:v>40802</c:v>
                </c:pt>
                <c:pt idx="729">
                  <c:v>40805</c:v>
                </c:pt>
                <c:pt idx="730">
                  <c:v>40806</c:v>
                </c:pt>
                <c:pt idx="731">
                  <c:v>40807</c:v>
                </c:pt>
                <c:pt idx="732">
                  <c:v>40808</c:v>
                </c:pt>
                <c:pt idx="733">
                  <c:v>40809</c:v>
                </c:pt>
                <c:pt idx="734">
                  <c:v>40812</c:v>
                </c:pt>
                <c:pt idx="735">
                  <c:v>40813</c:v>
                </c:pt>
                <c:pt idx="736">
                  <c:v>40814</c:v>
                </c:pt>
                <c:pt idx="737">
                  <c:v>40815</c:v>
                </c:pt>
                <c:pt idx="738">
                  <c:v>40816</c:v>
                </c:pt>
                <c:pt idx="739">
                  <c:v>40819</c:v>
                </c:pt>
                <c:pt idx="740">
                  <c:v>40820</c:v>
                </c:pt>
                <c:pt idx="741">
                  <c:v>40821</c:v>
                </c:pt>
                <c:pt idx="742">
                  <c:v>40822</c:v>
                </c:pt>
                <c:pt idx="743">
                  <c:v>40823</c:v>
                </c:pt>
                <c:pt idx="744">
                  <c:v>40826</c:v>
                </c:pt>
                <c:pt idx="745">
                  <c:v>40827</c:v>
                </c:pt>
                <c:pt idx="746">
                  <c:v>40828</c:v>
                </c:pt>
                <c:pt idx="747">
                  <c:v>40829</c:v>
                </c:pt>
                <c:pt idx="748">
                  <c:v>40830</c:v>
                </c:pt>
                <c:pt idx="749">
                  <c:v>40833</c:v>
                </c:pt>
                <c:pt idx="750">
                  <c:v>40834</c:v>
                </c:pt>
                <c:pt idx="751">
                  <c:v>40835</c:v>
                </c:pt>
                <c:pt idx="752">
                  <c:v>40836</c:v>
                </c:pt>
                <c:pt idx="753">
                  <c:v>40837</c:v>
                </c:pt>
                <c:pt idx="754">
                  <c:v>40840</c:v>
                </c:pt>
                <c:pt idx="755">
                  <c:v>40841</c:v>
                </c:pt>
                <c:pt idx="756">
                  <c:v>40842</c:v>
                </c:pt>
                <c:pt idx="757">
                  <c:v>40843</c:v>
                </c:pt>
                <c:pt idx="758">
                  <c:v>40844</c:v>
                </c:pt>
                <c:pt idx="759">
                  <c:v>40847</c:v>
                </c:pt>
                <c:pt idx="760">
                  <c:v>40848</c:v>
                </c:pt>
                <c:pt idx="761">
                  <c:v>40849</c:v>
                </c:pt>
                <c:pt idx="762">
                  <c:v>40850</c:v>
                </c:pt>
                <c:pt idx="763">
                  <c:v>40851</c:v>
                </c:pt>
                <c:pt idx="764">
                  <c:v>40854</c:v>
                </c:pt>
                <c:pt idx="765">
                  <c:v>40855</c:v>
                </c:pt>
                <c:pt idx="766">
                  <c:v>40856</c:v>
                </c:pt>
                <c:pt idx="767">
                  <c:v>40857</c:v>
                </c:pt>
                <c:pt idx="768">
                  <c:v>40858</c:v>
                </c:pt>
                <c:pt idx="769">
                  <c:v>40861</c:v>
                </c:pt>
                <c:pt idx="770">
                  <c:v>40862</c:v>
                </c:pt>
                <c:pt idx="771">
                  <c:v>40863</c:v>
                </c:pt>
                <c:pt idx="772">
                  <c:v>40864</c:v>
                </c:pt>
                <c:pt idx="773">
                  <c:v>40865</c:v>
                </c:pt>
                <c:pt idx="774">
                  <c:v>40868</c:v>
                </c:pt>
                <c:pt idx="775">
                  <c:v>40869</c:v>
                </c:pt>
                <c:pt idx="776">
                  <c:v>40870</c:v>
                </c:pt>
                <c:pt idx="777">
                  <c:v>40871</c:v>
                </c:pt>
                <c:pt idx="778">
                  <c:v>40872</c:v>
                </c:pt>
                <c:pt idx="779">
                  <c:v>40875</c:v>
                </c:pt>
                <c:pt idx="780">
                  <c:v>40876</c:v>
                </c:pt>
                <c:pt idx="781">
                  <c:v>40877</c:v>
                </c:pt>
                <c:pt idx="782">
                  <c:v>40878</c:v>
                </c:pt>
                <c:pt idx="783">
                  <c:v>40879</c:v>
                </c:pt>
                <c:pt idx="784">
                  <c:v>40882</c:v>
                </c:pt>
                <c:pt idx="785">
                  <c:v>40883</c:v>
                </c:pt>
                <c:pt idx="786">
                  <c:v>40884</c:v>
                </c:pt>
                <c:pt idx="787">
                  <c:v>40885</c:v>
                </c:pt>
                <c:pt idx="788">
                  <c:v>40886</c:v>
                </c:pt>
                <c:pt idx="789">
                  <c:v>40889</c:v>
                </c:pt>
                <c:pt idx="790">
                  <c:v>40890</c:v>
                </c:pt>
                <c:pt idx="791">
                  <c:v>40891</c:v>
                </c:pt>
                <c:pt idx="792">
                  <c:v>40892</c:v>
                </c:pt>
                <c:pt idx="793">
                  <c:v>40893</c:v>
                </c:pt>
                <c:pt idx="794">
                  <c:v>40896</c:v>
                </c:pt>
                <c:pt idx="795">
                  <c:v>40897</c:v>
                </c:pt>
                <c:pt idx="796">
                  <c:v>40898</c:v>
                </c:pt>
                <c:pt idx="797">
                  <c:v>40899</c:v>
                </c:pt>
                <c:pt idx="798">
                  <c:v>40900</c:v>
                </c:pt>
                <c:pt idx="799">
                  <c:v>40904</c:v>
                </c:pt>
                <c:pt idx="800">
                  <c:v>40905</c:v>
                </c:pt>
                <c:pt idx="801">
                  <c:v>40906</c:v>
                </c:pt>
                <c:pt idx="802">
                  <c:v>40907</c:v>
                </c:pt>
                <c:pt idx="803">
                  <c:v>40910</c:v>
                </c:pt>
                <c:pt idx="804">
                  <c:v>40911</c:v>
                </c:pt>
                <c:pt idx="805">
                  <c:v>40912</c:v>
                </c:pt>
                <c:pt idx="806">
                  <c:v>40913</c:v>
                </c:pt>
                <c:pt idx="807">
                  <c:v>40914</c:v>
                </c:pt>
                <c:pt idx="808">
                  <c:v>40917</c:v>
                </c:pt>
                <c:pt idx="809">
                  <c:v>40918</c:v>
                </c:pt>
                <c:pt idx="810">
                  <c:v>40919</c:v>
                </c:pt>
                <c:pt idx="811">
                  <c:v>40920</c:v>
                </c:pt>
                <c:pt idx="812">
                  <c:v>40921</c:v>
                </c:pt>
                <c:pt idx="813">
                  <c:v>40924</c:v>
                </c:pt>
                <c:pt idx="814">
                  <c:v>40925</c:v>
                </c:pt>
                <c:pt idx="815">
                  <c:v>40926</c:v>
                </c:pt>
                <c:pt idx="816">
                  <c:v>40927</c:v>
                </c:pt>
                <c:pt idx="817">
                  <c:v>40928</c:v>
                </c:pt>
                <c:pt idx="818">
                  <c:v>40931</c:v>
                </c:pt>
                <c:pt idx="819">
                  <c:v>40932</c:v>
                </c:pt>
                <c:pt idx="820">
                  <c:v>40933</c:v>
                </c:pt>
                <c:pt idx="821">
                  <c:v>40934</c:v>
                </c:pt>
                <c:pt idx="822">
                  <c:v>40935</c:v>
                </c:pt>
                <c:pt idx="823">
                  <c:v>40938</c:v>
                </c:pt>
                <c:pt idx="824">
                  <c:v>40939</c:v>
                </c:pt>
                <c:pt idx="825">
                  <c:v>40940</c:v>
                </c:pt>
                <c:pt idx="826">
                  <c:v>40941</c:v>
                </c:pt>
                <c:pt idx="827">
                  <c:v>40942</c:v>
                </c:pt>
                <c:pt idx="828">
                  <c:v>40945</c:v>
                </c:pt>
                <c:pt idx="829">
                  <c:v>40946</c:v>
                </c:pt>
                <c:pt idx="830">
                  <c:v>40947</c:v>
                </c:pt>
                <c:pt idx="831">
                  <c:v>40948</c:v>
                </c:pt>
                <c:pt idx="832">
                  <c:v>40949</c:v>
                </c:pt>
                <c:pt idx="833">
                  <c:v>40952</c:v>
                </c:pt>
                <c:pt idx="834">
                  <c:v>40953</c:v>
                </c:pt>
                <c:pt idx="835">
                  <c:v>40954</c:v>
                </c:pt>
                <c:pt idx="836">
                  <c:v>40955</c:v>
                </c:pt>
                <c:pt idx="837">
                  <c:v>40956</c:v>
                </c:pt>
                <c:pt idx="838">
                  <c:v>40959</c:v>
                </c:pt>
                <c:pt idx="839">
                  <c:v>40960</c:v>
                </c:pt>
                <c:pt idx="840">
                  <c:v>40961</c:v>
                </c:pt>
                <c:pt idx="841">
                  <c:v>40962</c:v>
                </c:pt>
                <c:pt idx="842">
                  <c:v>40963</c:v>
                </c:pt>
                <c:pt idx="843">
                  <c:v>40966</c:v>
                </c:pt>
                <c:pt idx="844">
                  <c:v>40967</c:v>
                </c:pt>
                <c:pt idx="845">
                  <c:v>40968</c:v>
                </c:pt>
                <c:pt idx="846">
                  <c:v>40969</c:v>
                </c:pt>
                <c:pt idx="847">
                  <c:v>40970</c:v>
                </c:pt>
                <c:pt idx="848">
                  <c:v>40973</c:v>
                </c:pt>
                <c:pt idx="849">
                  <c:v>40974</c:v>
                </c:pt>
                <c:pt idx="850">
                  <c:v>40975</c:v>
                </c:pt>
                <c:pt idx="851">
                  <c:v>40976</c:v>
                </c:pt>
                <c:pt idx="852">
                  <c:v>40977</c:v>
                </c:pt>
                <c:pt idx="853">
                  <c:v>40980</c:v>
                </c:pt>
                <c:pt idx="854">
                  <c:v>40981</c:v>
                </c:pt>
                <c:pt idx="855">
                  <c:v>40982</c:v>
                </c:pt>
                <c:pt idx="856">
                  <c:v>40983</c:v>
                </c:pt>
                <c:pt idx="857">
                  <c:v>40984</c:v>
                </c:pt>
                <c:pt idx="858">
                  <c:v>40987</c:v>
                </c:pt>
                <c:pt idx="859">
                  <c:v>40988</c:v>
                </c:pt>
                <c:pt idx="860">
                  <c:v>40989</c:v>
                </c:pt>
                <c:pt idx="861">
                  <c:v>40990</c:v>
                </c:pt>
                <c:pt idx="862">
                  <c:v>40991</c:v>
                </c:pt>
                <c:pt idx="863">
                  <c:v>40994</c:v>
                </c:pt>
                <c:pt idx="864">
                  <c:v>40995</c:v>
                </c:pt>
                <c:pt idx="865">
                  <c:v>40996</c:v>
                </c:pt>
                <c:pt idx="866">
                  <c:v>40997</c:v>
                </c:pt>
                <c:pt idx="867">
                  <c:v>40998</c:v>
                </c:pt>
                <c:pt idx="868">
                  <c:v>41001</c:v>
                </c:pt>
                <c:pt idx="869">
                  <c:v>41002</c:v>
                </c:pt>
                <c:pt idx="870">
                  <c:v>41003</c:v>
                </c:pt>
                <c:pt idx="871">
                  <c:v>41004</c:v>
                </c:pt>
                <c:pt idx="872">
                  <c:v>41009</c:v>
                </c:pt>
                <c:pt idx="873">
                  <c:v>41010</c:v>
                </c:pt>
                <c:pt idx="874">
                  <c:v>41011</c:v>
                </c:pt>
                <c:pt idx="875">
                  <c:v>41012</c:v>
                </c:pt>
                <c:pt idx="876">
                  <c:v>41015</c:v>
                </c:pt>
                <c:pt idx="877">
                  <c:v>41016</c:v>
                </c:pt>
                <c:pt idx="878">
                  <c:v>41017</c:v>
                </c:pt>
                <c:pt idx="879">
                  <c:v>41018</c:v>
                </c:pt>
                <c:pt idx="880">
                  <c:v>41019</c:v>
                </c:pt>
                <c:pt idx="881">
                  <c:v>41022</c:v>
                </c:pt>
                <c:pt idx="882">
                  <c:v>41023</c:v>
                </c:pt>
                <c:pt idx="883">
                  <c:v>41024</c:v>
                </c:pt>
                <c:pt idx="884">
                  <c:v>41025</c:v>
                </c:pt>
                <c:pt idx="885">
                  <c:v>41026</c:v>
                </c:pt>
                <c:pt idx="886">
                  <c:v>41029</c:v>
                </c:pt>
                <c:pt idx="887">
                  <c:v>41030</c:v>
                </c:pt>
                <c:pt idx="888">
                  <c:v>41031</c:v>
                </c:pt>
                <c:pt idx="889">
                  <c:v>41032</c:v>
                </c:pt>
                <c:pt idx="890">
                  <c:v>41033</c:v>
                </c:pt>
                <c:pt idx="891">
                  <c:v>41036</c:v>
                </c:pt>
                <c:pt idx="892">
                  <c:v>41037</c:v>
                </c:pt>
                <c:pt idx="893">
                  <c:v>41038</c:v>
                </c:pt>
                <c:pt idx="894">
                  <c:v>41039</c:v>
                </c:pt>
                <c:pt idx="895">
                  <c:v>41040</c:v>
                </c:pt>
                <c:pt idx="896">
                  <c:v>41043</c:v>
                </c:pt>
                <c:pt idx="897">
                  <c:v>41044</c:v>
                </c:pt>
                <c:pt idx="898">
                  <c:v>41045</c:v>
                </c:pt>
                <c:pt idx="899">
                  <c:v>41046</c:v>
                </c:pt>
                <c:pt idx="900">
                  <c:v>41047</c:v>
                </c:pt>
                <c:pt idx="901">
                  <c:v>41050</c:v>
                </c:pt>
                <c:pt idx="902">
                  <c:v>41051</c:v>
                </c:pt>
                <c:pt idx="903">
                  <c:v>41052</c:v>
                </c:pt>
                <c:pt idx="904">
                  <c:v>41053</c:v>
                </c:pt>
                <c:pt idx="905">
                  <c:v>41054</c:v>
                </c:pt>
                <c:pt idx="906">
                  <c:v>41057</c:v>
                </c:pt>
                <c:pt idx="907">
                  <c:v>41058</c:v>
                </c:pt>
                <c:pt idx="908">
                  <c:v>41059</c:v>
                </c:pt>
                <c:pt idx="909">
                  <c:v>41060</c:v>
                </c:pt>
                <c:pt idx="910">
                  <c:v>41061</c:v>
                </c:pt>
                <c:pt idx="911">
                  <c:v>41064</c:v>
                </c:pt>
                <c:pt idx="912">
                  <c:v>41065</c:v>
                </c:pt>
                <c:pt idx="913">
                  <c:v>41066</c:v>
                </c:pt>
                <c:pt idx="914">
                  <c:v>41067</c:v>
                </c:pt>
                <c:pt idx="915">
                  <c:v>41068</c:v>
                </c:pt>
                <c:pt idx="916">
                  <c:v>41071</c:v>
                </c:pt>
                <c:pt idx="917">
                  <c:v>41072</c:v>
                </c:pt>
                <c:pt idx="918">
                  <c:v>41073</c:v>
                </c:pt>
                <c:pt idx="919">
                  <c:v>41074</c:v>
                </c:pt>
                <c:pt idx="920">
                  <c:v>41075</c:v>
                </c:pt>
                <c:pt idx="921">
                  <c:v>41078</c:v>
                </c:pt>
                <c:pt idx="922">
                  <c:v>41079</c:v>
                </c:pt>
                <c:pt idx="923">
                  <c:v>41080</c:v>
                </c:pt>
                <c:pt idx="924">
                  <c:v>41081</c:v>
                </c:pt>
                <c:pt idx="925">
                  <c:v>41082</c:v>
                </c:pt>
                <c:pt idx="926">
                  <c:v>41085</c:v>
                </c:pt>
                <c:pt idx="927">
                  <c:v>41086</c:v>
                </c:pt>
                <c:pt idx="928">
                  <c:v>41087</c:v>
                </c:pt>
                <c:pt idx="929">
                  <c:v>41088</c:v>
                </c:pt>
                <c:pt idx="930">
                  <c:v>41089</c:v>
                </c:pt>
                <c:pt idx="931">
                  <c:v>41092</c:v>
                </c:pt>
                <c:pt idx="932">
                  <c:v>41093</c:v>
                </c:pt>
                <c:pt idx="933">
                  <c:v>41094</c:v>
                </c:pt>
                <c:pt idx="934">
                  <c:v>41095</c:v>
                </c:pt>
                <c:pt idx="935">
                  <c:v>41096</c:v>
                </c:pt>
                <c:pt idx="936">
                  <c:v>41099</c:v>
                </c:pt>
                <c:pt idx="937">
                  <c:v>41100</c:v>
                </c:pt>
                <c:pt idx="938">
                  <c:v>41101</c:v>
                </c:pt>
                <c:pt idx="939">
                  <c:v>41102</c:v>
                </c:pt>
                <c:pt idx="940">
                  <c:v>41103</c:v>
                </c:pt>
                <c:pt idx="941">
                  <c:v>41106</c:v>
                </c:pt>
                <c:pt idx="942">
                  <c:v>41107</c:v>
                </c:pt>
                <c:pt idx="943">
                  <c:v>41108</c:v>
                </c:pt>
                <c:pt idx="944">
                  <c:v>41109</c:v>
                </c:pt>
                <c:pt idx="945">
                  <c:v>41110</c:v>
                </c:pt>
                <c:pt idx="946">
                  <c:v>41113</c:v>
                </c:pt>
                <c:pt idx="947">
                  <c:v>41114</c:v>
                </c:pt>
                <c:pt idx="948">
                  <c:v>41115</c:v>
                </c:pt>
                <c:pt idx="949">
                  <c:v>41116</c:v>
                </c:pt>
                <c:pt idx="950">
                  <c:v>41117</c:v>
                </c:pt>
                <c:pt idx="951">
                  <c:v>41120</c:v>
                </c:pt>
                <c:pt idx="952">
                  <c:v>41121</c:v>
                </c:pt>
                <c:pt idx="953">
                  <c:v>41122</c:v>
                </c:pt>
                <c:pt idx="954">
                  <c:v>41123</c:v>
                </c:pt>
                <c:pt idx="955">
                  <c:v>41124</c:v>
                </c:pt>
                <c:pt idx="956">
                  <c:v>41127</c:v>
                </c:pt>
                <c:pt idx="957">
                  <c:v>41128</c:v>
                </c:pt>
                <c:pt idx="958">
                  <c:v>41129</c:v>
                </c:pt>
                <c:pt idx="959">
                  <c:v>41130</c:v>
                </c:pt>
                <c:pt idx="960">
                  <c:v>41131</c:v>
                </c:pt>
                <c:pt idx="961">
                  <c:v>41134</c:v>
                </c:pt>
                <c:pt idx="962">
                  <c:v>41135</c:v>
                </c:pt>
                <c:pt idx="963">
                  <c:v>41136</c:v>
                </c:pt>
                <c:pt idx="964">
                  <c:v>41137</c:v>
                </c:pt>
                <c:pt idx="965">
                  <c:v>41138</c:v>
                </c:pt>
                <c:pt idx="966">
                  <c:v>41141</c:v>
                </c:pt>
                <c:pt idx="967">
                  <c:v>41142</c:v>
                </c:pt>
                <c:pt idx="968">
                  <c:v>41143</c:v>
                </c:pt>
                <c:pt idx="969">
                  <c:v>41144</c:v>
                </c:pt>
                <c:pt idx="970">
                  <c:v>41145</c:v>
                </c:pt>
                <c:pt idx="971">
                  <c:v>41148</c:v>
                </c:pt>
                <c:pt idx="972">
                  <c:v>41149</c:v>
                </c:pt>
                <c:pt idx="973">
                  <c:v>41150</c:v>
                </c:pt>
                <c:pt idx="974">
                  <c:v>41151</c:v>
                </c:pt>
                <c:pt idx="975">
                  <c:v>41152</c:v>
                </c:pt>
                <c:pt idx="976">
                  <c:v>41155</c:v>
                </c:pt>
                <c:pt idx="977">
                  <c:v>41156</c:v>
                </c:pt>
                <c:pt idx="978">
                  <c:v>41157</c:v>
                </c:pt>
                <c:pt idx="979">
                  <c:v>41158</c:v>
                </c:pt>
                <c:pt idx="980">
                  <c:v>41159</c:v>
                </c:pt>
                <c:pt idx="981">
                  <c:v>41162</c:v>
                </c:pt>
                <c:pt idx="982">
                  <c:v>41163</c:v>
                </c:pt>
                <c:pt idx="983">
                  <c:v>41164</c:v>
                </c:pt>
                <c:pt idx="984">
                  <c:v>41165</c:v>
                </c:pt>
                <c:pt idx="985">
                  <c:v>41166</c:v>
                </c:pt>
                <c:pt idx="986">
                  <c:v>41169</c:v>
                </c:pt>
                <c:pt idx="987">
                  <c:v>41170</c:v>
                </c:pt>
                <c:pt idx="988">
                  <c:v>41171</c:v>
                </c:pt>
                <c:pt idx="989">
                  <c:v>41172</c:v>
                </c:pt>
                <c:pt idx="990">
                  <c:v>41173</c:v>
                </c:pt>
                <c:pt idx="991">
                  <c:v>41176</c:v>
                </c:pt>
                <c:pt idx="992">
                  <c:v>41177</c:v>
                </c:pt>
                <c:pt idx="993">
                  <c:v>41178</c:v>
                </c:pt>
                <c:pt idx="994">
                  <c:v>41179</c:v>
                </c:pt>
                <c:pt idx="995">
                  <c:v>41180</c:v>
                </c:pt>
                <c:pt idx="996">
                  <c:v>41183</c:v>
                </c:pt>
                <c:pt idx="997">
                  <c:v>41184</c:v>
                </c:pt>
                <c:pt idx="998">
                  <c:v>41185</c:v>
                </c:pt>
                <c:pt idx="999">
                  <c:v>41186</c:v>
                </c:pt>
                <c:pt idx="1000">
                  <c:v>41187</c:v>
                </c:pt>
                <c:pt idx="1001">
                  <c:v>41190</c:v>
                </c:pt>
                <c:pt idx="1002">
                  <c:v>41191</c:v>
                </c:pt>
                <c:pt idx="1003">
                  <c:v>41192</c:v>
                </c:pt>
                <c:pt idx="1004">
                  <c:v>41193</c:v>
                </c:pt>
                <c:pt idx="1005">
                  <c:v>41194</c:v>
                </c:pt>
                <c:pt idx="1006">
                  <c:v>41197</c:v>
                </c:pt>
                <c:pt idx="1007">
                  <c:v>41198</c:v>
                </c:pt>
                <c:pt idx="1008">
                  <c:v>41199</c:v>
                </c:pt>
                <c:pt idx="1009">
                  <c:v>41200</c:v>
                </c:pt>
                <c:pt idx="1010">
                  <c:v>41201</c:v>
                </c:pt>
                <c:pt idx="1011">
                  <c:v>41204</c:v>
                </c:pt>
                <c:pt idx="1012">
                  <c:v>41205</c:v>
                </c:pt>
                <c:pt idx="1013">
                  <c:v>41206</c:v>
                </c:pt>
                <c:pt idx="1014">
                  <c:v>41207</c:v>
                </c:pt>
                <c:pt idx="1015">
                  <c:v>41208</c:v>
                </c:pt>
                <c:pt idx="1016">
                  <c:v>41211</c:v>
                </c:pt>
                <c:pt idx="1017">
                  <c:v>41212</c:v>
                </c:pt>
                <c:pt idx="1018">
                  <c:v>41213</c:v>
                </c:pt>
                <c:pt idx="1019">
                  <c:v>41214</c:v>
                </c:pt>
                <c:pt idx="1020">
                  <c:v>41215</c:v>
                </c:pt>
                <c:pt idx="1021">
                  <c:v>41218</c:v>
                </c:pt>
                <c:pt idx="1022">
                  <c:v>41219</c:v>
                </c:pt>
                <c:pt idx="1023">
                  <c:v>41220</c:v>
                </c:pt>
                <c:pt idx="1024">
                  <c:v>41221</c:v>
                </c:pt>
                <c:pt idx="1025">
                  <c:v>41222</c:v>
                </c:pt>
                <c:pt idx="1026">
                  <c:v>41225</c:v>
                </c:pt>
                <c:pt idx="1027">
                  <c:v>41226</c:v>
                </c:pt>
                <c:pt idx="1028">
                  <c:v>41227</c:v>
                </c:pt>
                <c:pt idx="1029">
                  <c:v>41228</c:v>
                </c:pt>
                <c:pt idx="1030">
                  <c:v>41229</c:v>
                </c:pt>
                <c:pt idx="1031">
                  <c:v>41232</c:v>
                </c:pt>
                <c:pt idx="1032">
                  <c:v>41233</c:v>
                </c:pt>
                <c:pt idx="1033">
                  <c:v>41234</c:v>
                </c:pt>
                <c:pt idx="1034">
                  <c:v>41235</c:v>
                </c:pt>
                <c:pt idx="1035">
                  <c:v>41236</c:v>
                </c:pt>
                <c:pt idx="1036">
                  <c:v>41239</c:v>
                </c:pt>
                <c:pt idx="1037">
                  <c:v>41240</c:v>
                </c:pt>
                <c:pt idx="1038">
                  <c:v>41241</c:v>
                </c:pt>
                <c:pt idx="1039">
                  <c:v>41242</c:v>
                </c:pt>
                <c:pt idx="1040">
                  <c:v>41243</c:v>
                </c:pt>
                <c:pt idx="1041">
                  <c:v>41246</c:v>
                </c:pt>
                <c:pt idx="1042">
                  <c:v>41247</c:v>
                </c:pt>
                <c:pt idx="1043">
                  <c:v>41248</c:v>
                </c:pt>
                <c:pt idx="1044">
                  <c:v>41249</c:v>
                </c:pt>
                <c:pt idx="1045">
                  <c:v>41250</c:v>
                </c:pt>
                <c:pt idx="1046">
                  <c:v>41253</c:v>
                </c:pt>
                <c:pt idx="1047">
                  <c:v>41254</c:v>
                </c:pt>
                <c:pt idx="1048">
                  <c:v>41255</c:v>
                </c:pt>
                <c:pt idx="1049">
                  <c:v>41256</c:v>
                </c:pt>
                <c:pt idx="1050">
                  <c:v>41257</c:v>
                </c:pt>
                <c:pt idx="1051">
                  <c:v>41260</c:v>
                </c:pt>
                <c:pt idx="1052">
                  <c:v>41261</c:v>
                </c:pt>
                <c:pt idx="1053">
                  <c:v>41262</c:v>
                </c:pt>
                <c:pt idx="1054">
                  <c:v>41263</c:v>
                </c:pt>
                <c:pt idx="1055">
                  <c:v>41264</c:v>
                </c:pt>
                <c:pt idx="1056">
                  <c:v>41267</c:v>
                </c:pt>
                <c:pt idx="1057">
                  <c:v>41270</c:v>
                </c:pt>
                <c:pt idx="1058">
                  <c:v>41271</c:v>
                </c:pt>
                <c:pt idx="1059">
                  <c:v>41274</c:v>
                </c:pt>
                <c:pt idx="1060">
                  <c:v>41276</c:v>
                </c:pt>
                <c:pt idx="1061">
                  <c:v>41277</c:v>
                </c:pt>
                <c:pt idx="1062">
                  <c:v>41278</c:v>
                </c:pt>
                <c:pt idx="1063">
                  <c:v>41281</c:v>
                </c:pt>
                <c:pt idx="1064">
                  <c:v>41282</c:v>
                </c:pt>
                <c:pt idx="1065">
                  <c:v>41283</c:v>
                </c:pt>
                <c:pt idx="1066">
                  <c:v>41284</c:v>
                </c:pt>
                <c:pt idx="1067">
                  <c:v>41285</c:v>
                </c:pt>
                <c:pt idx="1068">
                  <c:v>41288</c:v>
                </c:pt>
                <c:pt idx="1069">
                  <c:v>41289</c:v>
                </c:pt>
                <c:pt idx="1070">
                  <c:v>41290</c:v>
                </c:pt>
                <c:pt idx="1071">
                  <c:v>41291</c:v>
                </c:pt>
                <c:pt idx="1072">
                  <c:v>41292</c:v>
                </c:pt>
                <c:pt idx="1073">
                  <c:v>41295</c:v>
                </c:pt>
                <c:pt idx="1074">
                  <c:v>41296</c:v>
                </c:pt>
                <c:pt idx="1075">
                  <c:v>41297</c:v>
                </c:pt>
                <c:pt idx="1076">
                  <c:v>41298</c:v>
                </c:pt>
                <c:pt idx="1077">
                  <c:v>41299</c:v>
                </c:pt>
                <c:pt idx="1078">
                  <c:v>41302</c:v>
                </c:pt>
                <c:pt idx="1079">
                  <c:v>41303</c:v>
                </c:pt>
                <c:pt idx="1080">
                  <c:v>41304</c:v>
                </c:pt>
                <c:pt idx="1081">
                  <c:v>41305</c:v>
                </c:pt>
                <c:pt idx="1082">
                  <c:v>41306</c:v>
                </c:pt>
                <c:pt idx="1083">
                  <c:v>41309</c:v>
                </c:pt>
                <c:pt idx="1084">
                  <c:v>41310</c:v>
                </c:pt>
                <c:pt idx="1085">
                  <c:v>41311</c:v>
                </c:pt>
                <c:pt idx="1086">
                  <c:v>41312</c:v>
                </c:pt>
                <c:pt idx="1087">
                  <c:v>41313</c:v>
                </c:pt>
                <c:pt idx="1088">
                  <c:v>41316</c:v>
                </c:pt>
                <c:pt idx="1089">
                  <c:v>41317</c:v>
                </c:pt>
                <c:pt idx="1090">
                  <c:v>41318</c:v>
                </c:pt>
                <c:pt idx="1091">
                  <c:v>41319</c:v>
                </c:pt>
                <c:pt idx="1092">
                  <c:v>41320</c:v>
                </c:pt>
                <c:pt idx="1093">
                  <c:v>41323</c:v>
                </c:pt>
                <c:pt idx="1094">
                  <c:v>41324</c:v>
                </c:pt>
                <c:pt idx="1095">
                  <c:v>41325</c:v>
                </c:pt>
                <c:pt idx="1096">
                  <c:v>41326</c:v>
                </c:pt>
                <c:pt idx="1097">
                  <c:v>41327</c:v>
                </c:pt>
                <c:pt idx="1098">
                  <c:v>41330</c:v>
                </c:pt>
                <c:pt idx="1099">
                  <c:v>41331</c:v>
                </c:pt>
                <c:pt idx="1100">
                  <c:v>41332</c:v>
                </c:pt>
                <c:pt idx="1101">
                  <c:v>41333</c:v>
                </c:pt>
                <c:pt idx="1102">
                  <c:v>41334</c:v>
                </c:pt>
                <c:pt idx="1103">
                  <c:v>41337</c:v>
                </c:pt>
                <c:pt idx="1104">
                  <c:v>41338</c:v>
                </c:pt>
                <c:pt idx="1105">
                  <c:v>41339</c:v>
                </c:pt>
                <c:pt idx="1106">
                  <c:v>41340</c:v>
                </c:pt>
                <c:pt idx="1107">
                  <c:v>41341</c:v>
                </c:pt>
                <c:pt idx="1108">
                  <c:v>41344</c:v>
                </c:pt>
                <c:pt idx="1109">
                  <c:v>41345</c:v>
                </c:pt>
                <c:pt idx="1110">
                  <c:v>41346</c:v>
                </c:pt>
                <c:pt idx="1111">
                  <c:v>41347</c:v>
                </c:pt>
                <c:pt idx="1112">
                  <c:v>41348</c:v>
                </c:pt>
                <c:pt idx="1113">
                  <c:v>41351</c:v>
                </c:pt>
                <c:pt idx="1114">
                  <c:v>41352</c:v>
                </c:pt>
                <c:pt idx="1115">
                  <c:v>41353</c:v>
                </c:pt>
                <c:pt idx="1116">
                  <c:v>41354</c:v>
                </c:pt>
                <c:pt idx="1117">
                  <c:v>41355</c:v>
                </c:pt>
                <c:pt idx="1118">
                  <c:v>41358</c:v>
                </c:pt>
                <c:pt idx="1119">
                  <c:v>41359</c:v>
                </c:pt>
                <c:pt idx="1120">
                  <c:v>41360</c:v>
                </c:pt>
                <c:pt idx="1121">
                  <c:v>41361</c:v>
                </c:pt>
                <c:pt idx="1122">
                  <c:v>41366</c:v>
                </c:pt>
                <c:pt idx="1123">
                  <c:v>41367</c:v>
                </c:pt>
                <c:pt idx="1124">
                  <c:v>41368</c:v>
                </c:pt>
                <c:pt idx="1125">
                  <c:v>41369</c:v>
                </c:pt>
                <c:pt idx="1126">
                  <c:v>41372</c:v>
                </c:pt>
                <c:pt idx="1127">
                  <c:v>41373</c:v>
                </c:pt>
                <c:pt idx="1128">
                  <c:v>41374</c:v>
                </c:pt>
                <c:pt idx="1129">
                  <c:v>41375</c:v>
                </c:pt>
                <c:pt idx="1130">
                  <c:v>41376</c:v>
                </c:pt>
                <c:pt idx="1131">
                  <c:v>41379</c:v>
                </c:pt>
                <c:pt idx="1132">
                  <c:v>41380</c:v>
                </c:pt>
                <c:pt idx="1133">
                  <c:v>41381</c:v>
                </c:pt>
                <c:pt idx="1134">
                  <c:v>41382</c:v>
                </c:pt>
                <c:pt idx="1135">
                  <c:v>41383</c:v>
                </c:pt>
                <c:pt idx="1136">
                  <c:v>41386</c:v>
                </c:pt>
                <c:pt idx="1137">
                  <c:v>41387</c:v>
                </c:pt>
                <c:pt idx="1138">
                  <c:v>41388</c:v>
                </c:pt>
                <c:pt idx="1139">
                  <c:v>41389</c:v>
                </c:pt>
                <c:pt idx="1140">
                  <c:v>41390</c:v>
                </c:pt>
                <c:pt idx="1141">
                  <c:v>41393</c:v>
                </c:pt>
                <c:pt idx="1142">
                  <c:v>41394</c:v>
                </c:pt>
                <c:pt idx="1143">
                  <c:v>41395</c:v>
                </c:pt>
                <c:pt idx="1144">
                  <c:v>41396</c:v>
                </c:pt>
                <c:pt idx="1145">
                  <c:v>41397</c:v>
                </c:pt>
                <c:pt idx="1146">
                  <c:v>41400</c:v>
                </c:pt>
                <c:pt idx="1147">
                  <c:v>41401</c:v>
                </c:pt>
                <c:pt idx="1148">
                  <c:v>41402</c:v>
                </c:pt>
                <c:pt idx="1149">
                  <c:v>41403</c:v>
                </c:pt>
                <c:pt idx="1150">
                  <c:v>41404</c:v>
                </c:pt>
                <c:pt idx="1151">
                  <c:v>41407</c:v>
                </c:pt>
                <c:pt idx="1152">
                  <c:v>41408</c:v>
                </c:pt>
                <c:pt idx="1153">
                  <c:v>41409</c:v>
                </c:pt>
                <c:pt idx="1154">
                  <c:v>41410</c:v>
                </c:pt>
                <c:pt idx="1155">
                  <c:v>41411</c:v>
                </c:pt>
                <c:pt idx="1156">
                  <c:v>41414</c:v>
                </c:pt>
                <c:pt idx="1157">
                  <c:v>41415</c:v>
                </c:pt>
                <c:pt idx="1158">
                  <c:v>41416</c:v>
                </c:pt>
                <c:pt idx="1159">
                  <c:v>41417</c:v>
                </c:pt>
                <c:pt idx="1160">
                  <c:v>41418</c:v>
                </c:pt>
                <c:pt idx="1161">
                  <c:v>41421</c:v>
                </c:pt>
                <c:pt idx="1162">
                  <c:v>41422</c:v>
                </c:pt>
                <c:pt idx="1163">
                  <c:v>41423</c:v>
                </c:pt>
                <c:pt idx="1164">
                  <c:v>41424</c:v>
                </c:pt>
                <c:pt idx="1165">
                  <c:v>41425</c:v>
                </c:pt>
                <c:pt idx="1166">
                  <c:v>41428</c:v>
                </c:pt>
                <c:pt idx="1167">
                  <c:v>41429</c:v>
                </c:pt>
                <c:pt idx="1168">
                  <c:v>41430</c:v>
                </c:pt>
                <c:pt idx="1169">
                  <c:v>41431</c:v>
                </c:pt>
                <c:pt idx="1170">
                  <c:v>41432</c:v>
                </c:pt>
                <c:pt idx="1171">
                  <c:v>41435</c:v>
                </c:pt>
                <c:pt idx="1172">
                  <c:v>41436</c:v>
                </c:pt>
                <c:pt idx="1173">
                  <c:v>41437</c:v>
                </c:pt>
                <c:pt idx="1174">
                  <c:v>41438</c:v>
                </c:pt>
                <c:pt idx="1175">
                  <c:v>41439</c:v>
                </c:pt>
                <c:pt idx="1176">
                  <c:v>41442</c:v>
                </c:pt>
                <c:pt idx="1177">
                  <c:v>41443</c:v>
                </c:pt>
                <c:pt idx="1178">
                  <c:v>41444</c:v>
                </c:pt>
                <c:pt idx="1179">
                  <c:v>41445</c:v>
                </c:pt>
                <c:pt idx="1180">
                  <c:v>41446</c:v>
                </c:pt>
                <c:pt idx="1181">
                  <c:v>41449</c:v>
                </c:pt>
                <c:pt idx="1182">
                  <c:v>41450</c:v>
                </c:pt>
                <c:pt idx="1183">
                  <c:v>41451</c:v>
                </c:pt>
                <c:pt idx="1184">
                  <c:v>41452</c:v>
                </c:pt>
                <c:pt idx="1185">
                  <c:v>41453</c:v>
                </c:pt>
                <c:pt idx="1186">
                  <c:v>41456</c:v>
                </c:pt>
                <c:pt idx="1187">
                  <c:v>41457</c:v>
                </c:pt>
                <c:pt idx="1188">
                  <c:v>41458</c:v>
                </c:pt>
                <c:pt idx="1189">
                  <c:v>41459</c:v>
                </c:pt>
                <c:pt idx="1190">
                  <c:v>41460</c:v>
                </c:pt>
                <c:pt idx="1191">
                  <c:v>41463</c:v>
                </c:pt>
                <c:pt idx="1192">
                  <c:v>41464</c:v>
                </c:pt>
                <c:pt idx="1193">
                  <c:v>41465</c:v>
                </c:pt>
                <c:pt idx="1194">
                  <c:v>41466</c:v>
                </c:pt>
                <c:pt idx="1195">
                  <c:v>41467</c:v>
                </c:pt>
                <c:pt idx="1196">
                  <c:v>41470</c:v>
                </c:pt>
                <c:pt idx="1197">
                  <c:v>41471</c:v>
                </c:pt>
                <c:pt idx="1198">
                  <c:v>41472</c:v>
                </c:pt>
                <c:pt idx="1199">
                  <c:v>41473</c:v>
                </c:pt>
                <c:pt idx="1200">
                  <c:v>41474</c:v>
                </c:pt>
                <c:pt idx="1201">
                  <c:v>41477</c:v>
                </c:pt>
                <c:pt idx="1202">
                  <c:v>41478</c:v>
                </c:pt>
                <c:pt idx="1203">
                  <c:v>41479</c:v>
                </c:pt>
                <c:pt idx="1204">
                  <c:v>41480</c:v>
                </c:pt>
                <c:pt idx="1205">
                  <c:v>41481</c:v>
                </c:pt>
                <c:pt idx="1206">
                  <c:v>41484</c:v>
                </c:pt>
                <c:pt idx="1207">
                  <c:v>41485</c:v>
                </c:pt>
                <c:pt idx="1208">
                  <c:v>41486</c:v>
                </c:pt>
                <c:pt idx="1209">
                  <c:v>41487</c:v>
                </c:pt>
                <c:pt idx="1210">
                  <c:v>41488</c:v>
                </c:pt>
                <c:pt idx="1211">
                  <c:v>41491</c:v>
                </c:pt>
                <c:pt idx="1212">
                  <c:v>41492</c:v>
                </c:pt>
                <c:pt idx="1213">
                  <c:v>41493</c:v>
                </c:pt>
                <c:pt idx="1214">
                  <c:v>41494</c:v>
                </c:pt>
                <c:pt idx="1215">
                  <c:v>41495</c:v>
                </c:pt>
                <c:pt idx="1216">
                  <c:v>41498</c:v>
                </c:pt>
                <c:pt idx="1217">
                  <c:v>41499</c:v>
                </c:pt>
                <c:pt idx="1218">
                  <c:v>41500</c:v>
                </c:pt>
                <c:pt idx="1219">
                  <c:v>41501</c:v>
                </c:pt>
                <c:pt idx="1220">
                  <c:v>41502</c:v>
                </c:pt>
                <c:pt idx="1221">
                  <c:v>41505</c:v>
                </c:pt>
                <c:pt idx="1222">
                  <c:v>41506</c:v>
                </c:pt>
                <c:pt idx="1223">
                  <c:v>41507</c:v>
                </c:pt>
                <c:pt idx="1224">
                  <c:v>41508</c:v>
                </c:pt>
                <c:pt idx="1225">
                  <c:v>41509</c:v>
                </c:pt>
                <c:pt idx="1226">
                  <c:v>41512</c:v>
                </c:pt>
                <c:pt idx="1227">
                  <c:v>41513</c:v>
                </c:pt>
                <c:pt idx="1228">
                  <c:v>41514</c:v>
                </c:pt>
                <c:pt idx="1229">
                  <c:v>41515</c:v>
                </c:pt>
                <c:pt idx="1230">
                  <c:v>41516</c:v>
                </c:pt>
                <c:pt idx="1231">
                  <c:v>41519</c:v>
                </c:pt>
                <c:pt idx="1232">
                  <c:v>41520</c:v>
                </c:pt>
                <c:pt idx="1233">
                  <c:v>41521</c:v>
                </c:pt>
                <c:pt idx="1234">
                  <c:v>41522</c:v>
                </c:pt>
                <c:pt idx="1235">
                  <c:v>41523</c:v>
                </c:pt>
                <c:pt idx="1236">
                  <c:v>41526</c:v>
                </c:pt>
                <c:pt idx="1237">
                  <c:v>41527</c:v>
                </c:pt>
                <c:pt idx="1238">
                  <c:v>41528</c:v>
                </c:pt>
                <c:pt idx="1239">
                  <c:v>41529</c:v>
                </c:pt>
                <c:pt idx="1240">
                  <c:v>41530</c:v>
                </c:pt>
                <c:pt idx="1241">
                  <c:v>41533</c:v>
                </c:pt>
                <c:pt idx="1242">
                  <c:v>41534</c:v>
                </c:pt>
                <c:pt idx="1243">
                  <c:v>41535</c:v>
                </c:pt>
                <c:pt idx="1244">
                  <c:v>41536</c:v>
                </c:pt>
                <c:pt idx="1245">
                  <c:v>41537</c:v>
                </c:pt>
              </c:numCache>
            </c:numRef>
          </c:cat>
          <c:val>
            <c:numRef>
              <c:f>Sheet1!$B$2:$B$1247</c:f>
              <c:numCache>
                <c:formatCode>General</c:formatCode>
                <c:ptCount val="1246"/>
                <c:pt idx="0">
                  <c:v>100</c:v>
                </c:pt>
                <c:pt idx="1">
                  <c:v>97.993822420000001</c:v>
                </c:pt>
                <c:pt idx="2">
                  <c:v>96.583120750000006</c:v>
                </c:pt>
                <c:pt idx="3">
                  <c:v>93.897716450000004</c:v>
                </c:pt>
                <c:pt idx="4">
                  <c:v>94.58309002</c:v>
                </c:pt>
                <c:pt idx="5">
                  <c:v>94.231951319999993</c:v>
                </c:pt>
                <c:pt idx="6">
                  <c:v>95.307649749999996</c:v>
                </c:pt>
                <c:pt idx="7">
                  <c:v>96.663798139999997</c:v>
                </c:pt>
                <c:pt idx="8">
                  <c:v>97.255432279999994</c:v>
                </c:pt>
                <c:pt idx="9">
                  <c:v>98.155177179999995</c:v>
                </c:pt>
                <c:pt idx="10">
                  <c:v>95.760979809999995</c:v>
                </c:pt>
                <c:pt idx="11">
                  <c:v>94.974183240000002</c:v>
                </c:pt>
                <c:pt idx="12">
                  <c:v>95.365276449999996</c:v>
                </c:pt>
                <c:pt idx="13">
                  <c:v>95.748686109999994</c:v>
                </c:pt>
                <c:pt idx="14">
                  <c:v>96.549313089999998</c:v>
                </c:pt>
                <c:pt idx="15">
                  <c:v>97.863201889999999</c:v>
                </c:pt>
                <c:pt idx="16">
                  <c:v>102.8667363</c:v>
                </c:pt>
                <c:pt idx="17">
                  <c:v>105.38463900000001</c:v>
                </c:pt>
                <c:pt idx="18">
                  <c:v>106.0392784</c:v>
                </c:pt>
                <c:pt idx="19">
                  <c:v>104.35888370000001</c:v>
                </c:pt>
                <c:pt idx="20">
                  <c:v>106.9313397</c:v>
                </c:pt>
                <c:pt idx="21">
                  <c:v>108.3789225</c:v>
                </c:pt>
                <c:pt idx="22">
                  <c:v>114.27067649999999</c:v>
                </c:pt>
                <c:pt idx="23">
                  <c:v>110.9452316</c:v>
                </c:pt>
                <c:pt idx="24">
                  <c:v>110.24525920000001</c:v>
                </c:pt>
                <c:pt idx="25">
                  <c:v>108.1099978</c:v>
                </c:pt>
                <c:pt idx="26">
                  <c:v>107.5129852</c:v>
                </c:pt>
                <c:pt idx="27">
                  <c:v>107.6105664</c:v>
                </c:pt>
                <c:pt idx="28">
                  <c:v>109.2517749</c:v>
                </c:pt>
                <c:pt idx="29">
                  <c:v>110.913729</c:v>
                </c:pt>
                <c:pt idx="30">
                  <c:v>110.7400805</c:v>
                </c:pt>
                <c:pt idx="31">
                  <c:v>112.6256262</c:v>
                </c:pt>
                <c:pt idx="32">
                  <c:v>116.8546578</c:v>
                </c:pt>
                <c:pt idx="33">
                  <c:v>115.9802686</c:v>
                </c:pt>
                <c:pt idx="34">
                  <c:v>115.519255</c:v>
                </c:pt>
                <c:pt idx="35">
                  <c:v>112.992132</c:v>
                </c:pt>
                <c:pt idx="36">
                  <c:v>112.4996158</c:v>
                </c:pt>
                <c:pt idx="37">
                  <c:v>110.1745705</c:v>
                </c:pt>
                <c:pt idx="38">
                  <c:v>107.8679657</c:v>
                </c:pt>
                <c:pt idx="39">
                  <c:v>107.3869748</c:v>
                </c:pt>
                <c:pt idx="40">
                  <c:v>104.0315641</c:v>
                </c:pt>
                <c:pt idx="41">
                  <c:v>106.1330178</c:v>
                </c:pt>
                <c:pt idx="42">
                  <c:v>105.72117900000001</c:v>
                </c:pt>
                <c:pt idx="43">
                  <c:v>103.7941421</c:v>
                </c:pt>
                <c:pt idx="44">
                  <c:v>103.4806528</c:v>
                </c:pt>
                <c:pt idx="45">
                  <c:v>104.4257307</c:v>
                </c:pt>
                <c:pt idx="46">
                  <c:v>102.8928604</c:v>
                </c:pt>
                <c:pt idx="47">
                  <c:v>103.2470726</c:v>
                </c:pt>
                <c:pt idx="48">
                  <c:v>103.6727418</c:v>
                </c:pt>
                <c:pt idx="49">
                  <c:v>106.33048530000001</c:v>
                </c:pt>
                <c:pt idx="50">
                  <c:v>105.07345479999999</c:v>
                </c:pt>
                <c:pt idx="51">
                  <c:v>104.3050988</c:v>
                </c:pt>
                <c:pt idx="52">
                  <c:v>101.81332020000001</c:v>
                </c:pt>
                <c:pt idx="53">
                  <c:v>101.9954206</c:v>
                </c:pt>
                <c:pt idx="54">
                  <c:v>102.22746410000001</c:v>
                </c:pt>
                <c:pt idx="55">
                  <c:v>102.55017359999999</c:v>
                </c:pt>
                <c:pt idx="56">
                  <c:v>104.21135940000001</c:v>
                </c:pt>
                <c:pt idx="57">
                  <c:v>103.3492639</c:v>
                </c:pt>
                <c:pt idx="58">
                  <c:v>103.3162246</c:v>
                </c:pt>
                <c:pt idx="59">
                  <c:v>103.12720899999999</c:v>
                </c:pt>
                <c:pt idx="60">
                  <c:v>101.9224268</c:v>
                </c:pt>
                <c:pt idx="61">
                  <c:v>103.7426622</c:v>
                </c:pt>
                <c:pt idx="62">
                  <c:v>102.6446814</c:v>
                </c:pt>
                <c:pt idx="63">
                  <c:v>100.2166764</c:v>
                </c:pt>
                <c:pt idx="64">
                  <c:v>100.1152534</c:v>
                </c:pt>
                <c:pt idx="65">
                  <c:v>99.822509760000003</c:v>
                </c:pt>
                <c:pt idx="66">
                  <c:v>97.603497559999994</c:v>
                </c:pt>
                <c:pt idx="67">
                  <c:v>98.302701540000001</c:v>
                </c:pt>
                <c:pt idx="68">
                  <c:v>98.540891909999999</c:v>
                </c:pt>
                <c:pt idx="69">
                  <c:v>98.479423429999997</c:v>
                </c:pt>
                <c:pt idx="70">
                  <c:v>98.124442939999994</c:v>
                </c:pt>
                <c:pt idx="71">
                  <c:v>96.773673049999999</c:v>
                </c:pt>
                <c:pt idx="72">
                  <c:v>93.409042009999993</c:v>
                </c:pt>
                <c:pt idx="73">
                  <c:v>93.600362660000002</c:v>
                </c:pt>
                <c:pt idx="74">
                  <c:v>94.366413620000003</c:v>
                </c:pt>
                <c:pt idx="75">
                  <c:v>93.072502069999999</c:v>
                </c:pt>
                <c:pt idx="76">
                  <c:v>92.915757450000001</c:v>
                </c:pt>
                <c:pt idx="77">
                  <c:v>91.256108429999998</c:v>
                </c:pt>
                <c:pt idx="78">
                  <c:v>93.305313949999999</c:v>
                </c:pt>
                <c:pt idx="79">
                  <c:v>93.700248950000002</c:v>
                </c:pt>
                <c:pt idx="80">
                  <c:v>93.541199250000005</c:v>
                </c:pt>
                <c:pt idx="81">
                  <c:v>95.585026279999994</c:v>
                </c:pt>
                <c:pt idx="82">
                  <c:v>96.265789720000001</c:v>
                </c:pt>
                <c:pt idx="83">
                  <c:v>95.273842090000002</c:v>
                </c:pt>
                <c:pt idx="84">
                  <c:v>96.066017149999993</c:v>
                </c:pt>
                <c:pt idx="85">
                  <c:v>98.206657039999996</c:v>
                </c:pt>
                <c:pt idx="86">
                  <c:v>98.869748290000004</c:v>
                </c:pt>
                <c:pt idx="87">
                  <c:v>103.09032790000001</c:v>
                </c:pt>
                <c:pt idx="88">
                  <c:v>104.3765559</c:v>
                </c:pt>
                <c:pt idx="89">
                  <c:v>104.007745</c:v>
                </c:pt>
                <c:pt idx="90">
                  <c:v>106.6263024</c:v>
                </c:pt>
                <c:pt idx="91">
                  <c:v>106.8191597</c:v>
                </c:pt>
                <c:pt idx="92">
                  <c:v>102.1767526</c:v>
                </c:pt>
                <c:pt idx="93">
                  <c:v>103.7203799</c:v>
                </c:pt>
                <c:pt idx="94">
                  <c:v>104.6915819</c:v>
                </c:pt>
                <c:pt idx="95">
                  <c:v>109.9440637</c:v>
                </c:pt>
                <c:pt idx="96">
                  <c:v>110.7731198</c:v>
                </c:pt>
                <c:pt idx="97">
                  <c:v>113.1511817</c:v>
                </c:pt>
                <c:pt idx="98">
                  <c:v>110.2514061</c:v>
                </c:pt>
                <c:pt idx="99">
                  <c:v>108.7323662</c:v>
                </c:pt>
                <c:pt idx="100">
                  <c:v>111.1772751</c:v>
                </c:pt>
                <c:pt idx="101">
                  <c:v>116.40055940000001</c:v>
                </c:pt>
                <c:pt idx="102">
                  <c:v>116.95223900000001</c:v>
                </c:pt>
                <c:pt idx="103">
                  <c:v>118.35909890000001</c:v>
                </c:pt>
                <c:pt idx="104">
                  <c:v>118.8792759</c:v>
                </c:pt>
                <c:pt idx="105">
                  <c:v>118.2791898</c:v>
                </c:pt>
                <c:pt idx="106">
                  <c:v>117.3725297</c:v>
                </c:pt>
                <c:pt idx="107">
                  <c:v>116.27454899999999</c:v>
                </c:pt>
                <c:pt idx="108">
                  <c:v>117.0744076</c:v>
                </c:pt>
                <c:pt idx="109">
                  <c:v>118.4828042</c:v>
                </c:pt>
                <c:pt idx="110">
                  <c:v>116.1662108</c:v>
                </c:pt>
                <c:pt idx="111">
                  <c:v>116.466638</c:v>
                </c:pt>
                <c:pt idx="112">
                  <c:v>119.0782801</c:v>
                </c:pt>
                <c:pt idx="113">
                  <c:v>123.6261794</c:v>
                </c:pt>
                <c:pt idx="114">
                  <c:v>123.82902540000001</c:v>
                </c:pt>
                <c:pt idx="115">
                  <c:v>129.96665329999999</c:v>
                </c:pt>
                <c:pt idx="116">
                  <c:v>131.1045886</c:v>
                </c:pt>
                <c:pt idx="117">
                  <c:v>135.23911240000001</c:v>
                </c:pt>
                <c:pt idx="118">
                  <c:v>139.89842329999999</c:v>
                </c:pt>
                <c:pt idx="119">
                  <c:v>140.4808372</c:v>
                </c:pt>
                <c:pt idx="120">
                  <c:v>138.5253711</c:v>
                </c:pt>
                <c:pt idx="121">
                  <c:v>140.24572029999999</c:v>
                </c:pt>
                <c:pt idx="122">
                  <c:v>140.68983</c:v>
                </c:pt>
                <c:pt idx="123">
                  <c:v>136.13655220000001</c:v>
                </c:pt>
                <c:pt idx="124">
                  <c:v>137.03091860000001</c:v>
                </c:pt>
                <c:pt idx="125">
                  <c:v>138.3163783</c:v>
                </c:pt>
                <c:pt idx="126">
                  <c:v>143.39674830000001</c:v>
                </c:pt>
                <c:pt idx="127">
                  <c:v>144.50241260000001</c:v>
                </c:pt>
                <c:pt idx="128">
                  <c:v>141.52887480000001</c:v>
                </c:pt>
                <c:pt idx="129">
                  <c:v>144.04447239999999</c:v>
                </c:pt>
                <c:pt idx="130">
                  <c:v>144.377939</c:v>
                </c:pt>
                <c:pt idx="131">
                  <c:v>142.54079970000001</c:v>
                </c:pt>
                <c:pt idx="132">
                  <c:v>145.64034789999999</c:v>
                </c:pt>
                <c:pt idx="133">
                  <c:v>144.8796754</c:v>
                </c:pt>
                <c:pt idx="134">
                  <c:v>147.24698040000001</c:v>
                </c:pt>
                <c:pt idx="135">
                  <c:v>152.68540429999999</c:v>
                </c:pt>
                <c:pt idx="136">
                  <c:v>151.81255189999999</c:v>
                </c:pt>
                <c:pt idx="137">
                  <c:v>152.9958201</c:v>
                </c:pt>
                <c:pt idx="138">
                  <c:v>153.57977070000001</c:v>
                </c:pt>
                <c:pt idx="139">
                  <c:v>156.20754830000001</c:v>
                </c:pt>
                <c:pt idx="140">
                  <c:v>153.26781819999999</c:v>
                </c:pt>
                <c:pt idx="141">
                  <c:v>154.83372779999999</c:v>
                </c:pt>
                <c:pt idx="142">
                  <c:v>157.47840919999999</c:v>
                </c:pt>
                <c:pt idx="143">
                  <c:v>158.2452285</c:v>
                </c:pt>
                <c:pt idx="144">
                  <c:v>157.57368529999999</c:v>
                </c:pt>
                <c:pt idx="145">
                  <c:v>154.89212280000001</c:v>
                </c:pt>
                <c:pt idx="146">
                  <c:v>151.4022497</c:v>
                </c:pt>
                <c:pt idx="147">
                  <c:v>149.3284568</c:v>
                </c:pt>
                <c:pt idx="148">
                  <c:v>146.3595292</c:v>
                </c:pt>
                <c:pt idx="149">
                  <c:v>148.8728217</c:v>
                </c:pt>
                <c:pt idx="150">
                  <c:v>147.01801029999999</c:v>
                </c:pt>
                <c:pt idx="151">
                  <c:v>144.68067120000001</c:v>
                </c:pt>
                <c:pt idx="152">
                  <c:v>148.19052160000001</c:v>
                </c:pt>
                <c:pt idx="153">
                  <c:v>150.19977259999999</c:v>
                </c:pt>
                <c:pt idx="154">
                  <c:v>150.3250146</c:v>
                </c:pt>
                <c:pt idx="155">
                  <c:v>150.6653963</c:v>
                </c:pt>
                <c:pt idx="156">
                  <c:v>151.545164</c:v>
                </c:pt>
                <c:pt idx="157">
                  <c:v>153.0642038</c:v>
                </c:pt>
                <c:pt idx="158">
                  <c:v>151.4060915</c:v>
                </c:pt>
                <c:pt idx="159">
                  <c:v>150.40876539999999</c:v>
                </c:pt>
                <c:pt idx="160">
                  <c:v>148.60466550000001</c:v>
                </c:pt>
                <c:pt idx="161">
                  <c:v>149.0318714</c:v>
                </c:pt>
                <c:pt idx="162">
                  <c:v>146.9611519</c:v>
                </c:pt>
                <c:pt idx="163">
                  <c:v>148.5493438</c:v>
                </c:pt>
                <c:pt idx="164">
                  <c:v>147.3061438</c:v>
                </c:pt>
                <c:pt idx="165">
                  <c:v>145.35605620000001</c:v>
                </c:pt>
                <c:pt idx="166">
                  <c:v>148.23815959999999</c:v>
                </c:pt>
                <c:pt idx="167">
                  <c:v>152.9274365</c:v>
                </c:pt>
                <c:pt idx="168">
                  <c:v>152.98967329999999</c:v>
                </c:pt>
                <c:pt idx="169">
                  <c:v>155.16719430000001</c:v>
                </c:pt>
                <c:pt idx="170">
                  <c:v>158.1084611</c:v>
                </c:pt>
                <c:pt idx="171">
                  <c:v>158.39813140000001</c:v>
                </c:pt>
                <c:pt idx="172">
                  <c:v>157.2601961</c:v>
                </c:pt>
                <c:pt idx="173">
                  <c:v>160.3743431</c:v>
                </c:pt>
                <c:pt idx="174">
                  <c:v>162.03091860000001</c:v>
                </c:pt>
                <c:pt idx="175">
                  <c:v>163.6828841</c:v>
                </c:pt>
                <c:pt idx="176">
                  <c:v>166.39671759999999</c:v>
                </c:pt>
                <c:pt idx="177">
                  <c:v>164.09088120000001</c:v>
                </c:pt>
                <c:pt idx="178">
                  <c:v>166.67486249999999</c:v>
                </c:pt>
                <c:pt idx="179">
                  <c:v>168.90539999999999</c:v>
                </c:pt>
                <c:pt idx="180">
                  <c:v>172.26311580000001</c:v>
                </c:pt>
                <c:pt idx="181">
                  <c:v>171.97267729999999</c:v>
                </c:pt>
                <c:pt idx="182">
                  <c:v>170.42751329999999</c:v>
                </c:pt>
                <c:pt idx="183">
                  <c:v>171.58004729999999</c:v>
                </c:pt>
                <c:pt idx="184">
                  <c:v>169.43402900000001</c:v>
                </c:pt>
                <c:pt idx="185">
                  <c:v>169.77978920000001</c:v>
                </c:pt>
                <c:pt idx="186">
                  <c:v>171.05141839999999</c:v>
                </c:pt>
                <c:pt idx="187">
                  <c:v>169.05907120000001</c:v>
                </c:pt>
                <c:pt idx="188">
                  <c:v>172.0264622</c:v>
                </c:pt>
                <c:pt idx="189">
                  <c:v>172.1655346</c:v>
                </c:pt>
                <c:pt idx="190">
                  <c:v>167.2372991</c:v>
                </c:pt>
                <c:pt idx="191">
                  <c:v>166.7924209</c:v>
                </c:pt>
                <c:pt idx="192">
                  <c:v>164.58186069999999</c:v>
                </c:pt>
                <c:pt idx="193">
                  <c:v>167.3279651</c:v>
                </c:pt>
                <c:pt idx="194">
                  <c:v>167.88655990000001</c:v>
                </c:pt>
                <c:pt idx="195">
                  <c:v>170.41060949999999</c:v>
                </c:pt>
                <c:pt idx="196">
                  <c:v>170.6011618</c:v>
                </c:pt>
                <c:pt idx="197">
                  <c:v>170.7102683</c:v>
                </c:pt>
                <c:pt idx="198">
                  <c:v>170.49205520000001</c:v>
                </c:pt>
                <c:pt idx="199">
                  <c:v>171.0153057</c:v>
                </c:pt>
                <c:pt idx="200">
                  <c:v>168.14703259999999</c:v>
                </c:pt>
                <c:pt idx="201">
                  <c:v>168.44438640000001</c:v>
                </c:pt>
                <c:pt idx="202">
                  <c:v>167.52389590000001</c:v>
                </c:pt>
                <c:pt idx="203">
                  <c:v>169.0752067</c:v>
                </c:pt>
                <c:pt idx="204">
                  <c:v>170.24618129999999</c:v>
                </c:pt>
                <c:pt idx="205">
                  <c:v>172.41371359999999</c:v>
                </c:pt>
                <c:pt idx="206">
                  <c:v>174.96696069999999</c:v>
                </c:pt>
                <c:pt idx="207">
                  <c:v>175.0960445</c:v>
                </c:pt>
                <c:pt idx="208">
                  <c:v>175.86516889999999</c:v>
                </c:pt>
                <c:pt idx="209">
                  <c:v>176.2908381</c:v>
                </c:pt>
                <c:pt idx="210">
                  <c:v>173.58545659999999</c:v>
                </c:pt>
                <c:pt idx="211">
                  <c:v>174.93622640000001</c:v>
                </c:pt>
                <c:pt idx="212">
                  <c:v>177.8575161</c:v>
                </c:pt>
                <c:pt idx="213">
                  <c:v>180.9708947</c:v>
                </c:pt>
                <c:pt idx="214">
                  <c:v>180.03350029999999</c:v>
                </c:pt>
                <c:pt idx="215">
                  <c:v>179.8590835</c:v>
                </c:pt>
                <c:pt idx="216">
                  <c:v>181.48031470000001</c:v>
                </c:pt>
                <c:pt idx="217">
                  <c:v>181.6355226</c:v>
                </c:pt>
                <c:pt idx="218">
                  <c:v>181.17988750000001</c:v>
                </c:pt>
                <c:pt idx="219">
                  <c:v>180.33546419999999</c:v>
                </c:pt>
                <c:pt idx="220">
                  <c:v>177.2843225</c:v>
                </c:pt>
                <c:pt idx="221">
                  <c:v>178.49064139999999</c:v>
                </c:pt>
                <c:pt idx="222">
                  <c:v>180.28782620000001</c:v>
                </c:pt>
                <c:pt idx="223">
                  <c:v>179.5394474</c:v>
                </c:pt>
                <c:pt idx="224">
                  <c:v>178.1786889</c:v>
                </c:pt>
                <c:pt idx="225">
                  <c:v>179.30125699999999</c:v>
                </c:pt>
                <c:pt idx="226">
                  <c:v>182.2379138</c:v>
                </c:pt>
                <c:pt idx="227">
                  <c:v>183.60866089999999</c:v>
                </c:pt>
                <c:pt idx="228">
                  <c:v>185.30519100000001</c:v>
                </c:pt>
                <c:pt idx="229">
                  <c:v>185.1615084</c:v>
                </c:pt>
                <c:pt idx="230">
                  <c:v>185.76927810000001</c:v>
                </c:pt>
                <c:pt idx="231">
                  <c:v>185.88529980000001</c:v>
                </c:pt>
                <c:pt idx="232">
                  <c:v>188.63217259999999</c:v>
                </c:pt>
                <c:pt idx="233">
                  <c:v>187.3228939</c:v>
                </c:pt>
                <c:pt idx="234">
                  <c:v>187.765467</c:v>
                </c:pt>
                <c:pt idx="235">
                  <c:v>189.22841690000001</c:v>
                </c:pt>
                <c:pt idx="236">
                  <c:v>188.7374374</c:v>
                </c:pt>
                <c:pt idx="237">
                  <c:v>187.3989612</c:v>
                </c:pt>
                <c:pt idx="238">
                  <c:v>186.09659769999999</c:v>
                </c:pt>
                <c:pt idx="239">
                  <c:v>187.87303689999999</c:v>
                </c:pt>
                <c:pt idx="240">
                  <c:v>187.54110700000001</c:v>
                </c:pt>
                <c:pt idx="241">
                  <c:v>185.6002397</c:v>
                </c:pt>
                <c:pt idx="242">
                  <c:v>181.83375849999999</c:v>
                </c:pt>
                <c:pt idx="243">
                  <c:v>180.4791468</c:v>
                </c:pt>
                <c:pt idx="244">
                  <c:v>181.3389372</c:v>
                </c:pt>
                <c:pt idx="245">
                  <c:v>180.9501491</c:v>
                </c:pt>
                <c:pt idx="246">
                  <c:v>179.31355070000001</c:v>
                </c:pt>
                <c:pt idx="247">
                  <c:v>181.16528869999999</c:v>
                </c:pt>
                <c:pt idx="248">
                  <c:v>180.6866029</c:v>
                </c:pt>
                <c:pt idx="249">
                  <c:v>183.1622461</c:v>
                </c:pt>
                <c:pt idx="250">
                  <c:v>186.04281280000001</c:v>
                </c:pt>
                <c:pt idx="251">
                  <c:v>186.34170330000001</c:v>
                </c:pt>
                <c:pt idx="252">
                  <c:v>188.48541660000001</c:v>
                </c:pt>
                <c:pt idx="253">
                  <c:v>187.74856320000001</c:v>
                </c:pt>
                <c:pt idx="254">
                  <c:v>188.26413009999999</c:v>
                </c:pt>
                <c:pt idx="255">
                  <c:v>192.25189779999999</c:v>
                </c:pt>
                <c:pt idx="256">
                  <c:v>191.7094385</c:v>
                </c:pt>
                <c:pt idx="257">
                  <c:v>191.3367858</c:v>
                </c:pt>
                <c:pt idx="258">
                  <c:v>189.77548640000001</c:v>
                </c:pt>
                <c:pt idx="259">
                  <c:v>190.14890740000001</c:v>
                </c:pt>
                <c:pt idx="260">
                  <c:v>191.88155019999999</c:v>
                </c:pt>
                <c:pt idx="261">
                  <c:v>189.85770049999999</c:v>
                </c:pt>
                <c:pt idx="262">
                  <c:v>192.1258875</c:v>
                </c:pt>
                <c:pt idx="263">
                  <c:v>189.45815529999999</c:v>
                </c:pt>
                <c:pt idx="264">
                  <c:v>188.53843319999999</c:v>
                </c:pt>
                <c:pt idx="265">
                  <c:v>187.96293449999999</c:v>
                </c:pt>
                <c:pt idx="266">
                  <c:v>191.70406</c:v>
                </c:pt>
                <c:pt idx="267">
                  <c:v>192.34025879999999</c:v>
                </c:pt>
                <c:pt idx="268">
                  <c:v>193.60881459999999</c:v>
                </c:pt>
                <c:pt idx="269">
                  <c:v>192.7252052</c:v>
                </c:pt>
                <c:pt idx="270">
                  <c:v>191.75861330000001</c:v>
                </c:pt>
                <c:pt idx="271">
                  <c:v>190.9902572</c:v>
                </c:pt>
                <c:pt idx="272">
                  <c:v>190.51157140000001</c:v>
                </c:pt>
                <c:pt idx="273">
                  <c:v>190.7174909</c:v>
                </c:pt>
                <c:pt idx="274">
                  <c:v>192.20733319999999</c:v>
                </c:pt>
                <c:pt idx="275">
                  <c:v>192.55155669999999</c:v>
                </c:pt>
                <c:pt idx="276">
                  <c:v>192.3494791</c:v>
                </c:pt>
                <c:pt idx="277">
                  <c:v>193.3160709</c:v>
                </c:pt>
                <c:pt idx="278">
                  <c:v>192.22193200000001</c:v>
                </c:pt>
                <c:pt idx="279">
                  <c:v>191.8154716</c:v>
                </c:pt>
                <c:pt idx="280">
                  <c:v>189.94990319999999</c:v>
                </c:pt>
                <c:pt idx="281">
                  <c:v>191.9798998</c:v>
                </c:pt>
                <c:pt idx="282">
                  <c:v>192.12896090000001</c:v>
                </c:pt>
                <c:pt idx="283">
                  <c:v>192.64222269999999</c:v>
                </c:pt>
                <c:pt idx="284">
                  <c:v>194.52162150000001</c:v>
                </c:pt>
                <c:pt idx="285">
                  <c:v>196.04219810000001</c:v>
                </c:pt>
                <c:pt idx="286">
                  <c:v>195.8746965</c:v>
                </c:pt>
                <c:pt idx="287">
                  <c:v>196.39256850000001</c:v>
                </c:pt>
                <c:pt idx="288">
                  <c:v>198.2266343</c:v>
                </c:pt>
                <c:pt idx="289">
                  <c:v>200.02766080000001</c:v>
                </c:pt>
                <c:pt idx="290">
                  <c:v>200.50173649999999</c:v>
                </c:pt>
                <c:pt idx="291">
                  <c:v>199.75719950000001</c:v>
                </c:pt>
                <c:pt idx="292">
                  <c:v>200.14445090000001</c:v>
                </c:pt>
                <c:pt idx="293">
                  <c:v>202.64083969999999</c:v>
                </c:pt>
                <c:pt idx="294">
                  <c:v>202.3995759</c:v>
                </c:pt>
                <c:pt idx="295">
                  <c:v>200.70150910000001</c:v>
                </c:pt>
                <c:pt idx="296">
                  <c:v>201.8655684</c:v>
                </c:pt>
                <c:pt idx="297">
                  <c:v>201.7741341</c:v>
                </c:pt>
                <c:pt idx="298">
                  <c:v>201.9831269</c:v>
                </c:pt>
                <c:pt idx="299">
                  <c:v>201.42453209999999</c:v>
                </c:pt>
                <c:pt idx="300">
                  <c:v>199.40913420000001</c:v>
                </c:pt>
                <c:pt idx="301">
                  <c:v>196.6407475</c:v>
                </c:pt>
                <c:pt idx="302">
                  <c:v>194.38178070000001</c:v>
                </c:pt>
                <c:pt idx="303">
                  <c:v>193.45130159999999</c:v>
                </c:pt>
                <c:pt idx="304">
                  <c:v>189.33445</c:v>
                </c:pt>
                <c:pt idx="305">
                  <c:v>187.19688350000001</c:v>
                </c:pt>
                <c:pt idx="306">
                  <c:v>190.23803670000001</c:v>
                </c:pt>
                <c:pt idx="307">
                  <c:v>189.43049450000001</c:v>
                </c:pt>
                <c:pt idx="308">
                  <c:v>188.72898549999999</c:v>
                </c:pt>
                <c:pt idx="309">
                  <c:v>188.18422100000001</c:v>
                </c:pt>
                <c:pt idx="310">
                  <c:v>191.28223249999999</c:v>
                </c:pt>
                <c:pt idx="311">
                  <c:v>188.5215293</c:v>
                </c:pt>
                <c:pt idx="312">
                  <c:v>184.36318650000001</c:v>
                </c:pt>
                <c:pt idx="313">
                  <c:v>184.13575309999999</c:v>
                </c:pt>
                <c:pt idx="314">
                  <c:v>185.53723450000001</c:v>
                </c:pt>
                <c:pt idx="315">
                  <c:v>185.63942589999999</c:v>
                </c:pt>
                <c:pt idx="316">
                  <c:v>187.3966561</c:v>
                </c:pt>
                <c:pt idx="317">
                  <c:v>187.54494879999999</c:v>
                </c:pt>
                <c:pt idx="318">
                  <c:v>187.09161879999999</c:v>
                </c:pt>
                <c:pt idx="319">
                  <c:v>188.32790360000001</c:v>
                </c:pt>
                <c:pt idx="320">
                  <c:v>190.7190276</c:v>
                </c:pt>
                <c:pt idx="321">
                  <c:v>189.1992194</c:v>
                </c:pt>
                <c:pt idx="322">
                  <c:v>188.7120816</c:v>
                </c:pt>
                <c:pt idx="323">
                  <c:v>190.10664779999999</c:v>
                </c:pt>
                <c:pt idx="324">
                  <c:v>190.7643606</c:v>
                </c:pt>
                <c:pt idx="325">
                  <c:v>190.67446290000001</c:v>
                </c:pt>
                <c:pt idx="326">
                  <c:v>189.85770049999999</c:v>
                </c:pt>
                <c:pt idx="327">
                  <c:v>190.31333559999999</c:v>
                </c:pt>
                <c:pt idx="328">
                  <c:v>191.634908</c:v>
                </c:pt>
                <c:pt idx="329">
                  <c:v>193.51430680000001</c:v>
                </c:pt>
                <c:pt idx="330">
                  <c:v>194.3356794</c:v>
                </c:pt>
                <c:pt idx="331">
                  <c:v>194.35949840000001</c:v>
                </c:pt>
                <c:pt idx="332">
                  <c:v>196.28192519999999</c:v>
                </c:pt>
                <c:pt idx="333">
                  <c:v>198.9412054</c:v>
                </c:pt>
                <c:pt idx="334">
                  <c:v>198.75295819999999</c:v>
                </c:pt>
                <c:pt idx="335">
                  <c:v>200.28121830000001</c:v>
                </c:pt>
                <c:pt idx="336">
                  <c:v>200.97658050000001</c:v>
                </c:pt>
                <c:pt idx="337">
                  <c:v>201.2447368</c:v>
                </c:pt>
                <c:pt idx="338">
                  <c:v>199.96158220000001</c:v>
                </c:pt>
                <c:pt idx="339">
                  <c:v>201.67424779999999</c:v>
                </c:pt>
                <c:pt idx="340">
                  <c:v>205.70504349999999</c:v>
                </c:pt>
                <c:pt idx="341">
                  <c:v>203.7564926</c:v>
                </c:pt>
                <c:pt idx="342">
                  <c:v>203.39690200000001</c:v>
                </c:pt>
                <c:pt idx="343">
                  <c:v>202.06610939999999</c:v>
                </c:pt>
                <c:pt idx="344">
                  <c:v>205.42843529999999</c:v>
                </c:pt>
                <c:pt idx="345">
                  <c:v>205.43150869999999</c:v>
                </c:pt>
                <c:pt idx="346">
                  <c:v>205.98165169999999</c:v>
                </c:pt>
                <c:pt idx="347">
                  <c:v>206.9182777</c:v>
                </c:pt>
                <c:pt idx="348">
                  <c:v>208.567938</c:v>
                </c:pt>
                <c:pt idx="349">
                  <c:v>209.60291359999999</c:v>
                </c:pt>
                <c:pt idx="350">
                  <c:v>207.9294342</c:v>
                </c:pt>
                <c:pt idx="351">
                  <c:v>212.6048806</c:v>
                </c:pt>
                <c:pt idx="352">
                  <c:v>215.8696253</c:v>
                </c:pt>
                <c:pt idx="353">
                  <c:v>216.8677198</c:v>
                </c:pt>
                <c:pt idx="354">
                  <c:v>214.18846239999999</c:v>
                </c:pt>
                <c:pt idx="355">
                  <c:v>215.9933307</c:v>
                </c:pt>
                <c:pt idx="356">
                  <c:v>215.86578359999999</c:v>
                </c:pt>
                <c:pt idx="357">
                  <c:v>215.0912807</c:v>
                </c:pt>
                <c:pt idx="358">
                  <c:v>219.5385254</c:v>
                </c:pt>
                <c:pt idx="359">
                  <c:v>220.22543569999999</c:v>
                </c:pt>
                <c:pt idx="360">
                  <c:v>218.85238340000001</c:v>
                </c:pt>
                <c:pt idx="361">
                  <c:v>214.75858249999999</c:v>
                </c:pt>
                <c:pt idx="362">
                  <c:v>219.11362449999999</c:v>
                </c:pt>
                <c:pt idx="363">
                  <c:v>218.48357250000001</c:v>
                </c:pt>
                <c:pt idx="364">
                  <c:v>218.62341330000001</c:v>
                </c:pt>
                <c:pt idx="365">
                  <c:v>218.97147860000001</c:v>
                </c:pt>
                <c:pt idx="366">
                  <c:v>220.68414419999999</c:v>
                </c:pt>
                <c:pt idx="367">
                  <c:v>220.1885546</c:v>
                </c:pt>
                <c:pt idx="368">
                  <c:v>215.49466760000001</c:v>
                </c:pt>
                <c:pt idx="369">
                  <c:v>217.70522790000001</c:v>
                </c:pt>
                <c:pt idx="370">
                  <c:v>219.01604330000001</c:v>
                </c:pt>
                <c:pt idx="371">
                  <c:v>217.49930850000001</c:v>
                </c:pt>
                <c:pt idx="372">
                  <c:v>216.92304150000001</c:v>
                </c:pt>
                <c:pt idx="373">
                  <c:v>212.46196639999999</c:v>
                </c:pt>
                <c:pt idx="374">
                  <c:v>209.50994249999999</c:v>
                </c:pt>
                <c:pt idx="375">
                  <c:v>206.41193100000001</c:v>
                </c:pt>
                <c:pt idx="376">
                  <c:v>213.7105449</c:v>
                </c:pt>
                <c:pt idx="377">
                  <c:v>211.39395149999999</c:v>
                </c:pt>
                <c:pt idx="378">
                  <c:v>213.3202201</c:v>
                </c:pt>
                <c:pt idx="379">
                  <c:v>212.6947783</c:v>
                </c:pt>
                <c:pt idx="380">
                  <c:v>212.30137999999999</c:v>
                </c:pt>
                <c:pt idx="381">
                  <c:v>210.2775302</c:v>
                </c:pt>
                <c:pt idx="382">
                  <c:v>211.17881180000001</c:v>
                </c:pt>
                <c:pt idx="383">
                  <c:v>206.4257614</c:v>
                </c:pt>
                <c:pt idx="384">
                  <c:v>203.7603344</c:v>
                </c:pt>
                <c:pt idx="385">
                  <c:v>200.17364850000001</c:v>
                </c:pt>
                <c:pt idx="386">
                  <c:v>199.37302149999999</c:v>
                </c:pt>
                <c:pt idx="387">
                  <c:v>192.20963829999999</c:v>
                </c:pt>
                <c:pt idx="388">
                  <c:v>195.19623809999999</c:v>
                </c:pt>
                <c:pt idx="389">
                  <c:v>198.21434060000001</c:v>
                </c:pt>
                <c:pt idx="390">
                  <c:v>198.33343579999999</c:v>
                </c:pt>
                <c:pt idx="391">
                  <c:v>203.08187599999999</c:v>
                </c:pt>
                <c:pt idx="392">
                  <c:v>198.82134189999999</c:v>
                </c:pt>
                <c:pt idx="393">
                  <c:v>199.8163629</c:v>
                </c:pt>
                <c:pt idx="394">
                  <c:v>204.4718321</c:v>
                </c:pt>
                <c:pt idx="395">
                  <c:v>204.72769460000001</c:v>
                </c:pt>
                <c:pt idx="396">
                  <c:v>199.49595840000001</c:v>
                </c:pt>
                <c:pt idx="397">
                  <c:v>199.75950460000001</c:v>
                </c:pt>
                <c:pt idx="398">
                  <c:v>200.41952240000001</c:v>
                </c:pt>
                <c:pt idx="399">
                  <c:v>201.96852809999999</c:v>
                </c:pt>
                <c:pt idx="400">
                  <c:v>203.53290100000001</c:v>
                </c:pt>
                <c:pt idx="401">
                  <c:v>206.11611400000001</c:v>
                </c:pt>
                <c:pt idx="402">
                  <c:v>206.02006950000001</c:v>
                </c:pt>
                <c:pt idx="403">
                  <c:v>208.01549009999999</c:v>
                </c:pt>
                <c:pt idx="404">
                  <c:v>208.6593724</c:v>
                </c:pt>
                <c:pt idx="405">
                  <c:v>210.61483849999999</c:v>
                </c:pt>
                <c:pt idx="406">
                  <c:v>215.1150997</c:v>
                </c:pt>
                <c:pt idx="407">
                  <c:v>213.30946309999999</c:v>
                </c:pt>
                <c:pt idx="408">
                  <c:v>212.1907367</c:v>
                </c:pt>
                <c:pt idx="409">
                  <c:v>210.12001720000001</c:v>
                </c:pt>
                <c:pt idx="410">
                  <c:v>210.83535670000001</c:v>
                </c:pt>
                <c:pt idx="411">
                  <c:v>213.68057899999999</c:v>
                </c:pt>
                <c:pt idx="412">
                  <c:v>210.3466822</c:v>
                </c:pt>
                <c:pt idx="413">
                  <c:v>211.02975069999999</c:v>
                </c:pt>
                <c:pt idx="414">
                  <c:v>209.90180409999999</c:v>
                </c:pt>
                <c:pt idx="415">
                  <c:v>211.16037130000001</c:v>
                </c:pt>
                <c:pt idx="416">
                  <c:v>210.6025448</c:v>
                </c:pt>
                <c:pt idx="417">
                  <c:v>213.1757691</c:v>
                </c:pt>
                <c:pt idx="418">
                  <c:v>212.26834070000001</c:v>
                </c:pt>
                <c:pt idx="419">
                  <c:v>214.50195160000001</c:v>
                </c:pt>
                <c:pt idx="420">
                  <c:v>216.18157790000001</c:v>
                </c:pt>
                <c:pt idx="421">
                  <c:v>215.68291479999999</c:v>
                </c:pt>
                <c:pt idx="422">
                  <c:v>216.68561940000001</c:v>
                </c:pt>
                <c:pt idx="423">
                  <c:v>218.74327690000001</c:v>
                </c:pt>
                <c:pt idx="424">
                  <c:v>219.11516119999999</c:v>
                </c:pt>
                <c:pt idx="425">
                  <c:v>220.2746104</c:v>
                </c:pt>
                <c:pt idx="426">
                  <c:v>217.52235920000001</c:v>
                </c:pt>
                <c:pt idx="427">
                  <c:v>217.64452779999999</c:v>
                </c:pt>
                <c:pt idx="428">
                  <c:v>215.91572669999999</c:v>
                </c:pt>
                <c:pt idx="429">
                  <c:v>216.80394630000001</c:v>
                </c:pt>
                <c:pt idx="430">
                  <c:v>219.06137630000001</c:v>
                </c:pt>
                <c:pt idx="431">
                  <c:v>219.516243</c:v>
                </c:pt>
                <c:pt idx="432">
                  <c:v>221.99188620000001</c:v>
                </c:pt>
                <c:pt idx="433">
                  <c:v>221.7075944</c:v>
                </c:pt>
                <c:pt idx="434">
                  <c:v>223.3457295</c:v>
                </c:pt>
                <c:pt idx="435">
                  <c:v>222.9523312</c:v>
                </c:pt>
                <c:pt idx="436">
                  <c:v>224.6749854</c:v>
                </c:pt>
                <c:pt idx="437">
                  <c:v>223.6438516</c:v>
                </c:pt>
                <c:pt idx="438">
                  <c:v>223.24430649999999</c:v>
                </c:pt>
                <c:pt idx="439">
                  <c:v>224.1947629</c:v>
                </c:pt>
                <c:pt idx="440">
                  <c:v>224.5827827</c:v>
                </c:pt>
                <c:pt idx="441">
                  <c:v>225.46408700000001</c:v>
                </c:pt>
                <c:pt idx="442">
                  <c:v>222.6503673</c:v>
                </c:pt>
                <c:pt idx="443">
                  <c:v>220.01106429999999</c:v>
                </c:pt>
                <c:pt idx="444">
                  <c:v>219.20505890000001</c:v>
                </c:pt>
                <c:pt idx="445">
                  <c:v>220.48514</c:v>
                </c:pt>
                <c:pt idx="446">
                  <c:v>220.09481510000001</c:v>
                </c:pt>
                <c:pt idx="447">
                  <c:v>220.7847988</c:v>
                </c:pt>
                <c:pt idx="448">
                  <c:v>222.15170420000001</c:v>
                </c:pt>
                <c:pt idx="449">
                  <c:v>224.2416326</c:v>
                </c:pt>
                <c:pt idx="450">
                  <c:v>223.80981650000001</c:v>
                </c:pt>
                <c:pt idx="451">
                  <c:v>224.19783630000001</c:v>
                </c:pt>
                <c:pt idx="452">
                  <c:v>222.43906939999999</c:v>
                </c:pt>
                <c:pt idx="453">
                  <c:v>222.31382730000001</c:v>
                </c:pt>
                <c:pt idx="454">
                  <c:v>223.5063159</c:v>
                </c:pt>
                <c:pt idx="455">
                  <c:v>224.34228719999999</c:v>
                </c:pt>
                <c:pt idx="456">
                  <c:v>225.26738789999999</c:v>
                </c:pt>
                <c:pt idx="457">
                  <c:v>225.29428039999999</c:v>
                </c:pt>
                <c:pt idx="458">
                  <c:v>229.3066355</c:v>
                </c:pt>
                <c:pt idx="459">
                  <c:v>228.81104590000001</c:v>
                </c:pt>
                <c:pt idx="460">
                  <c:v>233.05006610000001</c:v>
                </c:pt>
                <c:pt idx="461">
                  <c:v>236.1734333</c:v>
                </c:pt>
                <c:pt idx="462">
                  <c:v>235.13461599999999</c:v>
                </c:pt>
                <c:pt idx="463">
                  <c:v>235.59025109999999</c:v>
                </c:pt>
                <c:pt idx="464">
                  <c:v>236.09352430000001</c:v>
                </c:pt>
                <c:pt idx="465">
                  <c:v>236.5629898</c:v>
                </c:pt>
                <c:pt idx="466">
                  <c:v>239.68712540000001</c:v>
                </c:pt>
                <c:pt idx="467">
                  <c:v>238.6367827</c:v>
                </c:pt>
                <c:pt idx="468">
                  <c:v>240.06823</c:v>
                </c:pt>
                <c:pt idx="469">
                  <c:v>239.29603220000001</c:v>
                </c:pt>
                <c:pt idx="470">
                  <c:v>240.32870270000001</c:v>
                </c:pt>
                <c:pt idx="471">
                  <c:v>239.69327229999999</c:v>
                </c:pt>
                <c:pt idx="472">
                  <c:v>241.30605159999999</c:v>
                </c:pt>
                <c:pt idx="473">
                  <c:v>242.29185240000001</c:v>
                </c:pt>
                <c:pt idx="474">
                  <c:v>242.0936165</c:v>
                </c:pt>
                <c:pt idx="475">
                  <c:v>243.758644</c:v>
                </c:pt>
                <c:pt idx="476">
                  <c:v>246.6553462</c:v>
                </c:pt>
                <c:pt idx="477">
                  <c:v>245.7125734</c:v>
                </c:pt>
                <c:pt idx="478">
                  <c:v>248.0652795</c:v>
                </c:pt>
                <c:pt idx="479">
                  <c:v>248.56394259999999</c:v>
                </c:pt>
                <c:pt idx="480">
                  <c:v>251.25242030000001</c:v>
                </c:pt>
                <c:pt idx="481">
                  <c:v>250.77834469999999</c:v>
                </c:pt>
                <c:pt idx="482">
                  <c:v>252.36576819999999</c:v>
                </c:pt>
                <c:pt idx="483">
                  <c:v>255.91249959999999</c:v>
                </c:pt>
                <c:pt idx="484">
                  <c:v>255.07883330000001</c:v>
                </c:pt>
                <c:pt idx="485">
                  <c:v>253.23401050000001</c:v>
                </c:pt>
                <c:pt idx="486">
                  <c:v>253.9639487</c:v>
                </c:pt>
                <c:pt idx="487">
                  <c:v>252.6008851</c:v>
                </c:pt>
                <c:pt idx="488">
                  <c:v>257.44844330000001</c:v>
                </c:pt>
                <c:pt idx="489">
                  <c:v>258.69779019999999</c:v>
                </c:pt>
                <c:pt idx="490">
                  <c:v>259.22872419999999</c:v>
                </c:pt>
                <c:pt idx="491">
                  <c:v>256.6117036</c:v>
                </c:pt>
                <c:pt idx="492">
                  <c:v>256.71466329999998</c:v>
                </c:pt>
                <c:pt idx="493">
                  <c:v>255.32854900000001</c:v>
                </c:pt>
                <c:pt idx="494">
                  <c:v>256.20370650000001</c:v>
                </c:pt>
                <c:pt idx="495">
                  <c:v>256.44727540000002</c:v>
                </c:pt>
                <c:pt idx="496">
                  <c:v>258.37354399999998</c:v>
                </c:pt>
                <c:pt idx="497">
                  <c:v>258.05083439999999</c:v>
                </c:pt>
                <c:pt idx="498">
                  <c:v>254.84525310000001</c:v>
                </c:pt>
                <c:pt idx="499">
                  <c:v>255.40000610000001</c:v>
                </c:pt>
                <c:pt idx="500">
                  <c:v>255.6689308</c:v>
                </c:pt>
                <c:pt idx="501">
                  <c:v>258.98054519999999</c:v>
                </c:pt>
                <c:pt idx="502">
                  <c:v>259.92331810000002</c:v>
                </c:pt>
                <c:pt idx="503">
                  <c:v>261.08891419999998</c:v>
                </c:pt>
                <c:pt idx="504">
                  <c:v>265.05977810000002</c:v>
                </c:pt>
                <c:pt idx="505">
                  <c:v>265.4608599</c:v>
                </c:pt>
                <c:pt idx="506">
                  <c:v>267.6706519</c:v>
                </c:pt>
                <c:pt idx="507">
                  <c:v>268.7532655</c:v>
                </c:pt>
                <c:pt idx="508">
                  <c:v>268.32836459999999</c:v>
                </c:pt>
                <c:pt idx="509">
                  <c:v>265.72363769999998</c:v>
                </c:pt>
                <c:pt idx="510">
                  <c:v>261.1342472</c:v>
                </c:pt>
                <c:pt idx="511">
                  <c:v>259.82035839999998</c:v>
                </c:pt>
                <c:pt idx="512">
                  <c:v>259.01896299999999</c:v>
                </c:pt>
                <c:pt idx="513">
                  <c:v>258.14764730000002</c:v>
                </c:pt>
                <c:pt idx="514">
                  <c:v>260.0493285</c:v>
                </c:pt>
                <c:pt idx="515">
                  <c:v>260.90297199999998</c:v>
                </c:pt>
                <c:pt idx="516">
                  <c:v>261.44696809999999</c:v>
                </c:pt>
                <c:pt idx="517">
                  <c:v>255.43150869999999</c:v>
                </c:pt>
                <c:pt idx="518">
                  <c:v>254.68543500000001</c:v>
                </c:pt>
                <c:pt idx="519">
                  <c:v>255.28552110000001</c:v>
                </c:pt>
                <c:pt idx="520">
                  <c:v>252.75225130000001</c:v>
                </c:pt>
                <c:pt idx="521">
                  <c:v>254.24747210000001</c:v>
                </c:pt>
                <c:pt idx="522">
                  <c:v>251.65119709999999</c:v>
                </c:pt>
                <c:pt idx="523">
                  <c:v>255.4368872</c:v>
                </c:pt>
                <c:pt idx="524">
                  <c:v>259.50533239999999</c:v>
                </c:pt>
                <c:pt idx="525">
                  <c:v>258.90524629999999</c:v>
                </c:pt>
                <c:pt idx="526">
                  <c:v>259.56603250000001</c:v>
                </c:pt>
                <c:pt idx="527">
                  <c:v>260.65402460000001</c:v>
                </c:pt>
                <c:pt idx="528">
                  <c:v>258.74850170000002</c:v>
                </c:pt>
                <c:pt idx="529">
                  <c:v>260.71856659999997</c:v>
                </c:pt>
                <c:pt idx="530">
                  <c:v>259.22334569999998</c:v>
                </c:pt>
                <c:pt idx="531">
                  <c:v>259.04431879999999</c:v>
                </c:pt>
                <c:pt idx="532">
                  <c:v>260.0262778</c:v>
                </c:pt>
                <c:pt idx="533">
                  <c:v>257.77653129999999</c:v>
                </c:pt>
                <c:pt idx="534">
                  <c:v>255.66124719999999</c:v>
                </c:pt>
                <c:pt idx="535">
                  <c:v>256.82991670000001</c:v>
                </c:pt>
                <c:pt idx="536">
                  <c:v>254.053078</c:v>
                </c:pt>
                <c:pt idx="537">
                  <c:v>256.79918249999997</c:v>
                </c:pt>
                <c:pt idx="538">
                  <c:v>257.61517659999998</c:v>
                </c:pt>
                <c:pt idx="539">
                  <c:v>257.33165320000001</c:v>
                </c:pt>
                <c:pt idx="540">
                  <c:v>258.0400775</c:v>
                </c:pt>
                <c:pt idx="541">
                  <c:v>259.04892890000002</c:v>
                </c:pt>
                <c:pt idx="542">
                  <c:v>261.7012939</c:v>
                </c:pt>
                <c:pt idx="543">
                  <c:v>263.68134739999999</c:v>
                </c:pt>
                <c:pt idx="544">
                  <c:v>264.25454100000002</c:v>
                </c:pt>
                <c:pt idx="545">
                  <c:v>263.75895129999998</c:v>
                </c:pt>
                <c:pt idx="546">
                  <c:v>267.40787410000002</c:v>
                </c:pt>
                <c:pt idx="547">
                  <c:v>269.9073363</c:v>
                </c:pt>
                <c:pt idx="548">
                  <c:v>270.10249870000001</c:v>
                </c:pt>
                <c:pt idx="549">
                  <c:v>269.65992560000001</c:v>
                </c:pt>
                <c:pt idx="550">
                  <c:v>266.18926149999999</c:v>
                </c:pt>
                <c:pt idx="551">
                  <c:v>260.2076098</c:v>
                </c:pt>
                <c:pt idx="552">
                  <c:v>260.44810519999999</c:v>
                </c:pt>
                <c:pt idx="553">
                  <c:v>263.71361830000001</c:v>
                </c:pt>
                <c:pt idx="554">
                  <c:v>266.24074130000002</c:v>
                </c:pt>
                <c:pt idx="555">
                  <c:v>265.34944830000001</c:v>
                </c:pt>
                <c:pt idx="556">
                  <c:v>263.21572359999999</c:v>
                </c:pt>
                <c:pt idx="557">
                  <c:v>264.80622060000002</c:v>
                </c:pt>
                <c:pt idx="558">
                  <c:v>266.45511260000001</c:v>
                </c:pt>
                <c:pt idx="559">
                  <c:v>262.83999749999998</c:v>
                </c:pt>
                <c:pt idx="560">
                  <c:v>260.20837820000003</c:v>
                </c:pt>
                <c:pt idx="561">
                  <c:v>256.03543660000003</c:v>
                </c:pt>
                <c:pt idx="562">
                  <c:v>256.7331039</c:v>
                </c:pt>
                <c:pt idx="563">
                  <c:v>259.95866239999998</c:v>
                </c:pt>
                <c:pt idx="564">
                  <c:v>261.23259669999999</c:v>
                </c:pt>
                <c:pt idx="565">
                  <c:v>259.27713069999999</c:v>
                </c:pt>
                <c:pt idx="566">
                  <c:v>255.8064665</c:v>
                </c:pt>
                <c:pt idx="567">
                  <c:v>256.71620000000001</c:v>
                </c:pt>
                <c:pt idx="568">
                  <c:v>260.17841229999999</c:v>
                </c:pt>
                <c:pt idx="569">
                  <c:v>260.10618679999999</c:v>
                </c:pt>
                <c:pt idx="570">
                  <c:v>260.92986450000001</c:v>
                </c:pt>
                <c:pt idx="571">
                  <c:v>261.33939820000001</c:v>
                </c:pt>
                <c:pt idx="572">
                  <c:v>261.35015520000002</c:v>
                </c:pt>
                <c:pt idx="573">
                  <c:v>258.09309400000001</c:v>
                </c:pt>
                <c:pt idx="574">
                  <c:v>253.21787499999999</c:v>
                </c:pt>
                <c:pt idx="575">
                  <c:v>251.2854596</c:v>
                </c:pt>
                <c:pt idx="576">
                  <c:v>254.75842890000001</c:v>
                </c:pt>
                <c:pt idx="577">
                  <c:v>254.37348249999999</c:v>
                </c:pt>
                <c:pt idx="578">
                  <c:v>255.95629589999999</c:v>
                </c:pt>
                <c:pt idx="579">
                  <c:v>257.24482899999998</c:v>
                </c:pt>
                <c:pt idx="580">
                  <c:v>258.95057930000002</c:v>
                </c:pt>
                <c:pt idx="581">
                  <c:v>258.32897930000001</c:v>
                </c:pt>
                <c:pt idx="582">
                  <c:v>255.14183850000001</c:v>
                </c:pt>
                <c:pt idx="583">
                  <c:v>256.34354730000001</c:v>
                </c:pt>
                <c:pt idx="584">
                  <c:v>252.8821035</c:v>
                </c:pt>
                <c:pt idx="585">
                  <c:v>254.53253219999999</c:v>
                </c:pt>
                <c:pt idx="586">
                  <c:v>254.36503060000001</c:v>
                </c:pt>
                <c:pt idx="587">
                  <c:v>257.41309890000002</c:v>
                </c:pt>
                <c:pt idx="588">
                  <c:v>255.824907</c:v>
                </c:pt>
                <c:pt idx="589">
                  <c:v>256.9144359</c:v>
                </c:pt>
                <c:pt idx="590">
                  <c:v>260.34053540000002</c:v>
                </c:pt>
                <c:pt idx="591">
                  <c:v>261.63598359999997</c:v>
                </c:pt>
                <c:pt idx="592">
                  <c:v>263.36247959999997</c:v>
                </c:pt>
                <c:pt idx="593">
                  <c:v>263.08817649999997</c:v>
                </c:pt>
                <c:pt idx="594">
                  <c:v>262.27218240000002</c:v>
                </c:pt>
                <c:pt idx="595">
                  <c:v>259.6328795</c:v>
                </c:pt>
                <c:pt idx="596">
                  <c:v>261.99787930000002</c:v>
                </c:pt>
                <c:pt idx="597">
                  <c:v>255.462243</c:v>
                </c:pt>
                <c:pt idx="598">
                  <c:v>256.66010999999997</c:v>
                </c:pt>
                <c:pt idx="599">
                  <c:v>255.23788300000001</c:v>
                </c:pt>
                <c:pt idx="600">
                  <c:v>256.2183053</c:v>
                </c:pt>
                <c:pt idx="601">
                  <c:v>259.83418879999999</c:v>
                </c:pt>
                <c:pt idx="602">
                  <c:v>261.18572699999999</c:v>
                </c:pt>
                <c:pt idx="603">
                  <c:v>262.6048806</c:v>
                </c:pt>
                <c:pt idx="604">
                  <c:v>265.23649999999998</c:v>
                </c:pt>
                <c:pt idx="605">
                  <c:v>266.60340539999999</c:v>
                </c:pt>
                <c:pt idx="606">
                  <c:v>266.61569909999997</c:v>
                </c:pt>
                <c:pt idx="607">
                  <c:v>266.50889760000001</c:v>
                </c:pt>
                <c:pt idx="608">
                  <c:v>270.50665400000003</c:v>
                </c:pt>
                <c:pt idx="609">
                  <c:v>272.79251310000001</c:v>
                </c:pt>
                <c:pt idx="610">
                  <c:v>274.40606079999998</c:v>
                </c:pt>
                <c:pt idx="611">
                  <c:v>275.87131570000003</c:v>
                </c:pt>
                <c:pt idx="612">
                  <c:v>274.50287370000001</c:v>
                </c:pt>
                <c:pt idx="613">
                  <c:v>276.54439559999997</c:v>
                </c:pt>
                <c:pt idx="614">
                  <c:v>277.50330389999999</c:v>
                </c:pt>
                <c:pt idx="615">
                  <c:v>278.22479019999997</c:v>
                </c:pt>
                <c:pt idx="616">
                  <c:v>276.90168119999998</c:v>
                </c:pt>
                <c:pt idx="617">
                  <c:v>274.7725666</c:v>
                </c:pt>
                <c:pt idx="618">
                  <c:v>276.38841930000001</c:v>
                </c:pt>
                <c:pt idx="619">
                  <c:v>277.11605250000002</c:v>
                </c:pt>
                <c:pt idx="620">
                  <c:v>277.6254725</c:v>
                </c:pt>
                <c:pt idx="621">
                  <c:v>276.6826997</c:v>
                </c:pt>
                <c:pt idx="622">
                  <c:v>277.04613210000002</c:v>
                </c:pt>
                <c:pt idx="623">
                  <c:v>281.08537969999998</c:v>
                </c:pt>
                <c:pt idx="624">
                  <c:v>282.06733869999999</c:v>
                </c:pt>
                <c:pt idx="625">
                  <c:v>281.99895500000002</c:v>
                </c:pt>
                <c:pt idx="626">
                  <c:v>283.5925254</c:v>
                </c:pt>
                <c:pt idx="627">
                  <c:v>285.6678551</c:v>
                </c:pt>
                <c:pt idx="628">
                  <c:v>285.91065559999998</c:v>
                </c:pt>
                <c:pt idx="629">
                  <c:v>286.89107780000001</c:v>
                </c:pt>
                <c:pt idx="630">
                  <c:v>284.17032920000003</c:v>
                </c:pt>
                <c:pt idx="631">
                  <c:v>282.70353749999998</c:v>
                </c:pt>
                <c:pt idx="632">
                  <c:v>277.70614990000001</c:v>
                </c:pt>
                <c:pt idx="633">
                  <c:v>276.67347940000002</c:v>
                </c:pt>
                <c:pt idx="634">
                  <c:v>279.1268402</c:v>
                </c:pt>
                <c:pt idx="635">
                  <c:v>281.01545929999997</c:v>
                </c:pt>
                <c:pt idx="636">
                  <c:v>283.34972490000001</c:v>
                </c:pt>
                <c:pt idx="637">
                  <c:v>278.32313979999998</c:v>
                </c:pt>
                <c:pt idx="638">
                  <c:v>280.8302855</c:v>
                </c:pt>
                <c:pt idx="639">
                  <c:v>277.70461319999998</c:v>
                </c:pt>
                <c:pt idx="640">
                  <c:v>277.17828930000002</c:v>
                </c:pt>
                <c:pt idx="641">
                  <c:v>279.62934510000002</c:v>
                </c:pt>
                <c:pt idx="642">
                  <c:v>280.2709223</c:v>
                </c:pt>
                <c:pt idx="643">
                  <c:v>280.86793499999999</c:v>
                </c:pt>
                <c:pt idx="644">
                  <c:v>274.57356240000001</c:v>
                </c:pt>
                <c:pt idx="645">
                  <c:v>276.82638229999998</c:v>
                </c:pt>
                <c:pt idx="646">
                  <c:v>276.01576669999997</c:v>
                </c:pt>
                <c:pt idx="647">
                  <c:v>279.29280510000001</c:v>
                </c:pt>
                <c:pt idx="648">
                  <c:v>281.5417832</c:v>
                </c:pt>
                <c:pt idx="649">
                  <c:v>281.87448139999998</c:v>
                </c:pt>
                <c:pt idx="650">
                  <c:v>282.80035040000001</c:v>
                </c:pt>
                <c:pt idx="651">
                  <c:v>283.43731750000001</c:v>
                </c:pt>
                <c:pt idx="652">
                  <c:v>283.29132989999999</c:v>
                </c:pt>
                <c:pt idx="653">
                  <c:v>283.28441470000001</c:v>
                </c:pt>
                <c:pt idx="654">
                  <c:v>281.32587519999998</c:v>
                </c:pt>
                <c:pt idx="655">
                  <c:v>281.41116269999998</c:v>
                </c:pt>
                <c:pt idx="656">
                  <c:v>279.51870179999997</c:v>
                </c:pt>
                <c:pt idx="657">
                  <c:v>279.40498509999998</c:v>
                </c:pt>
                <c:pt idx="658">
                  <c:v>278.53290099999998</c:v>
                </c:pt>
                <c:pt idx="659">
                  <c:v>276.60509569999999</c:v>
                </c:pt>
                <c:pt idx="660">
                  <c:v>278.88096630000001</c:v>
                </c:pt>
                <c:pt idx="661">
                  <c:v>279.85601009999999</c:v>
                </c:pt>
                <c:pt idx="662">
                  <c:v>274.976181</c:v>
                </c:pt>
                <c:pt idx="663">
                  <c:v>275.51556690000001</c:v>
                </c:pt>
                <c:pt idx="664">
                  <c:v>276.10720099999998</c:v>
                </c:pt>
                <c:pt idx="665">
                  <c:v>279.11454650000002</c:v>
                </c:pt>
                <c:pt idx="666">
                  <c:v>280.576728</c:v>
                </c:pt>
                <c:pt idx="667">
                  <c:v>278.99391459999998</c:v>
                </c:pt>
                <c:pt idx="668">
                  <c:v>280.23404119999998</c:v>
                </c:pt>
                <c:pt idx="669">
                  <c:v>277.73381069999999</c:v>
                </c:pt>
                <c:pt idx="670">
                  <c:v>278.84485360000002</c:v>
                </c:pt>
                <c:pt idx="671">
                  <c:v>281.06693919999998</c:v>
                </c:pt>
                <c:pt idx="672">
                  <c:v>286.05817990000003</c:v>
                </c:pt>
                <c:pt idx="673">
                  <c:v>288.62372069999998</c:v>
                </c:pt>
                <c:pt idx="674">
                  <c:v>291.61646739999998</c:v>
                </c:pt>
                <c:pt idx="675">
                  <c:v>290.07668189999998</c:v>
                </c:pt>
                <c:pt idx="676">
                  <c:v>289.45124010000001</c:v>
                </c:pt>
                <c:pt idx="677">
                  <c:v>291.18695639999999</c:v>
                </c:pt>
                <c:pt idx="678">
                  <c:v>294.92654520000002</c:v>
                </c:pt>
                <c:pt idx="679">
                  <c:v>292.21117500000003</c:v>
                </c:pt>
                <c:pt idx="680">
                  <c:v>288.14272979999998</c:v>
                </c:pt>
                <c:pt idx="681">
                  <c:v>291.45895439999998</c:v>
                </c:pt>
                <c:pt idx="682">
                  <c:v>292.4178627</c:v>
                </c:pt>
                <c:pt idx="683">
                  <c:v>293.33143810000001</c:v>
                </c:pt>
                <c:pt idx="684">
                  <c:v>292.6921658</c:v>
                </c:pt>
                <c:pt idx="685">
                  <c:v>293.25383410000001</c:v>
                </c:pt>
                <c:pt idx="686">
                  <c:v>296.62768540000002</c:v>
                </c:pt>
                <c:pt idx="687">
                  <c:v>298.45099429999999</c:v>
                </c:pt>
                <c:pt idx="688">
                  <c:v>301.51827150000003</c:v>
                </c:pt>
                <c:pt idx="689">
                  <c:v>301.86556839999997</c:v>
                </c:pt>
                <c:pt idx="690">
                  <c:v>304.25438730000002</c:v>
                </c:pt>
                <c:pt idx="691">
                  <c:v>305.90635279999998</c:v>
                </c:pt>
                <c:pt idx="692">
                  <c:v>303.85714719999999</c:v>
                </c:pt>
                <c:pt idx="693">
                  <c:v>303.8517688</c:v>
                </c:pt>
                <c:pt idx="694">
                  <c:v>308.4834189</c:v>
                </c:pt>
                <c:pt idx="695">
                  <c:v>307.66972980000003</c:v>
                </c:pt>
                <c:pt idx="696">
                  <c:v>303.71730650000001</c:v>
                </c:pt>
                <c:pt idx="697">
                  <c:v>299.99385319999999</c:v>
                </c:pt>
                <c:pt idx="698">
                  <c:v>289.9299259</c:v>
                </c:pt>
                <c:pt idx="699">
                  <c:v>283.27212100000003</c:v>
                </c:pt>
                <c:pt idx="700">
                  <c:v>277.86750469999998</c:v>
                </c:pt>
                <c:pt idx="701">
                  <c:v>279.18523529999999</c:v>
                </c:pt>
                <c:pt idx="702">
                  <c:v>286.87801580000001</c:v>
                </c:pt>
                <c:pt idx="703">
                  <c:v>282.34164179999999</c:v>
                </c:pt>
                <c:pt idx="704">
                  <c:v>287.15001380000001</c:v>
                </c:pt>
                <c:pt idx="705">
                  <c:v>286.364754</c:v>
                </c:pt>
                <c:pt idx="706">
                  <c:v>287.21301899999997</c:v>
                </c:pt>
                <c:pt idx="707">
                  <c:v>288.07895630000002</c:v>
                </c:pt>
                <c:pt idx="708">
                  <c:v>283.62172299999997</c:v>
                </c:pt>
                <c:pt idx="709">
                  <c:v>281.70621139999997</c:v>
                </c:pt>
                <c:pt idx="710">
                  <c:v>284.66438210000001</c:v>
                </c:pt>
                <c:pt idx="711">
                  <c:v>281.50336540000001</c:v>
                </c:pt>
                <c:pt idx="712">
                  <c:v>281.20831670000001</c:v>
                </c:pt>
                <c:pt idx="713">
                  <c:v>280.62206099999997</c:v>
                </c:pt>
                <c:pt idx="714">
                  <c:v>281.81301289999999</c:v>
                </c:pt>
                <c:pt idx="715">
                  <c:v>281.50567050000001</c:v>
                </c:pt>
                <c:pt idx="716">
                  <c:v>286.36705899999998</c:v>
                </c:pt>
                <c:pt idx="717">
                  <c:v>285.76082609999997</c:v>
                </c:pt>
                <c:pt idx="718">
                  <c:v>287.61256420000001</c:v>
                </c:pt>
                <c:pt idx="719">
                  <c:v>284.54375019999998</c:v>
                </c:pt>
                <c:pt idx="720">
                  <c:v>283.57715830000001</c:v>
                </c:pt>
                <c:pt idx="721">
                  <c:v>289.0808925</c:v>
                </c:pt>
                <c:pt idx="722">
                  <c:v>288.25260470000001</c:v>
                </c:pt>
                <c:pt idx="723">
                  <c:v>285.2982758</c:v>
                </c:pt>
                <c:pt idx="724">
                  <c:v>276.9109014</c:v>
                </c:pt>
                <c:pt idx="725">
                  <c:v>275.03688110000002</c:v>
                </c:pt>
                <c:pt idx="726">
                  <c:v>270.35144600000001</c:v>
                </c:pt>
                <c:pt idx="727">
                  <c:v>272.99228570000002</c:v>
                </c:pt>
                <c:pt idx="728">
                  <c:v>273.58238310000002</c:v>
                </c:pt>
                <c:pt idx="729">
                  <c:v>267.53772629999997</c:v>
                </c:pt>
                <c:pt idx="730">
                  <c:v>268.3391216</c:v>
                </c:pt>
                <c:pt idx="731">
                  <c:v>266.3844239</c:v>
                </c:pt>
                <c:pt idx="732">
                  <c:v>253.5298276</c:v>
                </c:pt>
                <c:pt idx="733">
                  <c:v>253.19021420000001</c:v>
                </c:pt>
                <c:pt idx="734">
                  <c:v>244.72984600000001</c:v>
                </c:pt>
                <c:pt idx="735">
                  <c:v>253.8663675</c:v>
                </c:pt>
                <c:pt idx="736">
                  <c:v>254.87291389999999</c:v>
                </c:pt>
                <c:pt idx="737">
                  <c:v>255.22251589999999</c:v>
                </c:pt>
                <c:pt idx="738">
                  <c:v>255.3200971</c:v>
                </c:pt>
                <c:pt idx="739">
                  <c:v>246.4755509</c:v>
                </c:pt>
                <c:pt idx="740">
                  <c:v>242.75747609999999</c:v>
                </c:pt>
                <c:pt idx="741">
                  <c:v>244.68528140000001</c:v>
                </c:pt>
                <c:pt idx="742">
                  <c:v>250.35651720000001</c:v>
                </c:pt>
                <c:pt idx="743">
                  <c:v>251.76721889999999</c:v>
                </c:pt>
                <c:pt idx="744">
                  <c:v>254.73768329999999</c:v>
                </c:pt>
                <c:pt idx="745">
                  <c:v>257.58905249999998</c:v>
                </c:pt>
                <c:pt idx="746">
                  <c:v>261.82115750000003</c:v>
                </c:pt>
                <c:pt idx="747">
                  <c:v>261.71819770000002</c:v>
                </c:pt>
                <c:pt idx="748">
                  <c:v>263.54611670000003</c:v>
                </c:pt>
                <c:pt idx="749">
                  <c:v>266.89614899999998</c:v>
                </c:pt>
                <c:pt idx="750">
                  <c:v>261.16959150000002</c:v>
                </c:pt>
                <c:pt idx="751">
                  <c:v>263.5468851</c:v>
                </c:pt>
                <c:pt idx="752">
                  <c:v>259.93484339999998</c:v>
                </c:pt>
                <c:pt idx="753">
                  <c:v>259.3508928</c:v>
                </c:pt>
                <c:pt idx="754">
                  <c:v>263.4078126</c:v>
                </c:pt>
                <c:pt idx="755">
                  <c:v>264.90764359999997</c:v>
                </c:pt>
                <c:pt idx="756">
                  <c:v>264.77855979999998</c:v>
                </c:pt>
                <c:pt idx="757">
                  <c:v>271.9580785</c:v>
                </c:pt>
                <c:pt idx="758">
                  <c:v>276.46448659999999</c:v>
                </c:pt>
                <c:pt idx="759">
                  <c:v>273.26044200000001</c:v>
                </c:pt>
                <c:pt idx="760">
                  <c:v>265.58226020000001</c:v>
                </c:pt>
                <c:pt idx="761">
                  <c:v>267.67910380000001</c:v>
                </c:pt>
                <c:pt idx="762">
                  <c:v>264.6579279</c:v>
                </c:pt>
                <c:pt idx="763">
                  <c:v>270.03718839999999</c:v>
                </c:pt>
                <c:pt idx="764">
                  <c:v>269.3333743</c:v>
                </c:pt>
                <c:pt idx="765">
                  <c:v>270.71641519999997</c:v>
                </c:pt>
                <c:pt idx="766">
                  <c:v>270.96228910000002</c:v>
                </c:pt>
                <c:pt idx="767">
                  <c:v>265.22036450000002</c:v>
                </c:pt>
                <c:pt idx="768">
                  <c:v>266.1508437</c:v>
                </c:pt>
                <c:pt idx="769">
                  <c:v>270.33992069999999</c:v>
                </c:pt>
                <c:pt idx="770">
                  <c:v>268.9392077</c:v>
                </c:pt>
                <c:pt idx="771">
                  <c:v>269.28804129999997</c:v>
                </c:pt>
                <c:pt idx="772">
                  <c:v>267.05366199999997</c:v>
                </c:pt>
                <c:pt idx="773">
                  <c:v>263.48849000000001</c:v>
                </c:pt>
                <c:pt idx="774">
                  <c:v>259.65823519999998</c:v>
                </c:pt>
                <c:pt idx="775">
                  <c:v>260.64326770000002</c:v>
                </c:pt>
                <c:pt idx="776">
                  <c:v>258.77462580000002</c:v>
                </c:pt>
                <c:pt idx="777">
                  <c:v>259.35473459999997</c:v>
                </c:pt>
                <c:pt idx="778">
                  <c:v>255.38002890000001</c:v>
                </c:pt>
                <c:pt idx="779">
                  <c:v>257.46534709999997</c:v>
                </c:pt>
                <c:pt idx="780">
                  <c:v>257.95786340000001</c:v>
                </c:pt>
                <c:pt idx="781">
                  <c:v>261.47539719999997</c:v>
                </c:pt>
                <c:pt idx="782">
                  <c:v>268.21464789999999</c:v>
                </c:pt>
                <c:pt idx="783">
                  <c:v>270.42443989999998</c:v>
                </c:pt>
                <c:pt idx="784">
                  <c:v>269.65531549999997</c:v>
                </c:pt>
                <c:pt idx="785">
                  <c:v>268.28841010000002</c:v>
                </c:pt>
                <c:pt idx="786">
                  <c:v>270.2984295</c:v>
                </c:pt>
                <c:pt idx="787">
                  <c:v>268.62264499999998</c:v>
                </c:pt>
                <c:pt idx="788">
                  <c:v>265.81891389999998</c:v>
                </c:pt>
                <c:pt idx="789">
                  <c:v>266.477395</c:v>
                </c:pt>
                <c:pt idx="790">
                  <c:v>264.4504718</c:v>
                </c:pt>
                <c:pt idx="791">
                  <c:v>262.96600790000002</c:v>
                </c:pt>
                <c:pt idx="792">
                  <c:v>260.88529979999998</c:v>
                </c:pt>
                <c:pt idx="793">
                  <c:v>265.5307803</c:v>
                </c:pt>
                <c:pt idx="794">
                  <c:v>263.7074715</c:v>
                </c:pt>
                <c:pt idx="795">
                  <c:v>263.93106310000002</c:v>
                </c:pt>
                <c:pt idx="796">
                  <c:v>268.02640070000001</c:v>
                </c:pt>
                <c:pt idx="797">
                  <c:v>267.6506746</c:v>
                </c:pt>
                <c:pt idx="798">
                  <c:v>269.03909399999998</c:v>
                </c:pt>
                <c:pt idx="799">
                  <c:v>268.137044</c:v>
                </c:pt>
                <c:pt idx="800">
                  <c:v>267.84506870000001</c:v>
                </c:pt>
                <c:pt idx="801">
                  <c:v>268.27534809999997</c:v>
                </c:pt>
                <c:pt idx="802">
                  <c:v>268.24384550000002</c:v>
                </c:pt>
                <c:pt idx="803">
                  <c:v>267.95724869999998</c:v>
                </c:pt>
                <c:pt idx="804">
                  <c:v>270.47591970000002</c:v>
                </c:pt>
                <c:pt idx="805">
                  <c:v>272.29769190000002</c:v>
                </c:pt>
                <c:pt idx="806">
                  <c:v>272.36453879999999</c:v>
                </c:pt>
                <c:pt idx="807">
                  <c:v>270.56965919999999</c:v>
                </c:pt>
                <c:pt idx="808">
                  <c:v>270.80784949999997</c:v>
                </c:pt>
                <c:pt idx="809">
                  <c:v>274.19860469999998</c:v>
                </c:pt>
                <c:pt idx="810">
                  <c:v>274.33076190000003</c:v>
                </c:pt>
                <c:pt idx="811">
                  <c:v>274.92623780000002</c:v>
                </c:pt>
                <c:pt idx="812">
                  <c:v>276.7472416</c:v>
                </c:pt>
                <c:pt idx="813">
                  <c:v>273.76064170000001</c:v>
                </c:pt>
                <c:pt idx="814">
                  <c:v>278.13105080000003</c:v>
                </c:pt>
                <c:pt idx="815">
                  <c:v>278.28164859999998</c:v>
                </c:pt>
                <c:pt idx="816">
                  <c:v>280.5759597</c:v>
                </c:pt>
                <c:pt idx="817">
                  <c:v>282.69815899999998</c:v>
                </c:pt>
                <c:pt idx="818">
                  <c:v>283.50032270000003</c:v>
                </c:pt>
                <c:pt idx="819">
                  <c:v>283.07081169999998</c:v>
                </c:pt>
                <c:pt idx="820">
                  <c:v>285.12846910000002</c:v>
                </c:pt>
                <c:pt idx="821">
                  <c:v>287.22147089999999</c:v>
                </c:pt>
                <c:pt idx="822">
                  <c:v>289.22611180000001</c:v>
                </c:pt>
                <c:pt idx="823">
                  <c:v>285.69090569999997</c:v>
                </c:pt>
                <c:pt idx="824">
                  <c:v>288.75280450000002</c:v>
                </c:pt>
                <c:pt idx="825">
                  <c:v>288.27872880000001</c:v>
                </c:pt>
                <c:pt idx="826">
                  <c:v>292.370993</c:v>
                </c:pt>
                <c:pt idx="827">
                  <c:v>293.00181329999998</c:v>
                </c:pt>
                <c:pt idx="828">
                  <c:v>292.66143160000001</c:v>
                </c:pt>
                <c:pt idx="829">
                  <c:v>292.4017273</c:v>
                </c:pt>
                <c:pt idx="830">
                  <c:v>295.3429941</c:v>
                </c:pt>
                <c:pt idx="831">
                  <c:v>293.67105140000001</c:v>
                </c:pt>
                <c:pt idx="832">
                  <c:v>289.73245839999998</c:v>
                </c:pt>
                <c:pt idx="833">
                  <c:v>291.44051389999998</c:v>
                </c:pt>
                <c:pt idx="834">
                  <c:v>289.71324950000002</c:v>
                </c:pt>
                <c:pt idx="835">
                  <c:v>291.14085499999999</c:v>
                </c:pt>
                <c:pt idx="836">
                  <c:v>288.5292129</c:v>
                </c:pt>
                <c:pt idx="837">
                  <c:v>292.47933119999999</c:v>
                </c:pt>
                <c:pt idx="838">
                  <c:v>295.17165069999999</c:v>
                </c:pt>
                <c:pt idx="839">
                  <c:v>295.94692199999997</c:v>
                </c:pt>
                <c:pt idx="840">
                  <c:v>296.07216399999999</c:v>
                </c:pt>
                <c:pt idx="841">
                  <c:v>295.61345549999999</c:v>
                </c:pt>
                <c:pt idx="842">
                  <c:v>294.97956169999998</c:v>
                </c:pt>
                <c:pt idx="843">
                  <c:v>290.45624980000002</c:v>
                </c:pt>
                <c:pt idx="844">
                  <c:v>294.06291299999998</c:v>
                </c:pt>
                <c:pt idx="845">
                  <c:v>298.85668620000001</c:v>
                </c:pt>
                <c:pt idx="846">
                  <c:v>297.79942829999999</c:v>
                </c:pt>
                <c:pt idx="847">
                  <c:v>300.19285739999998</c:v>
                </c:pt>
                <c:pt idx="848">
                  <c:v>297.93081719999998</c:v>
                </c:pt>
                <c:pt idx="849">
                  <c:v>293.91308359999999</c:v>
                </c:pt>
                <c:pt idx="850">
                  <c:v>291.38058210000003</c:v>
                </c:pt>
                <c:pt idx="851">
                  <c:v>295.95383720000001</c:v>
                </c:pt>
                <c:pt idx="852">
                  <c:v>294.98801359999999</c:v>
                </c:pt>
                <c:pt idx="853">
                  <c:v>292.55847189999997</c:v>
                </c:pt>
                <c:pt idx="854">
                  <c:v>293.97608880000001</c:v>
                </c:pt>
                <c:pt idx="855">
                  <c:v>295.82167989999999</c:v>
                </c:pt>
                <c:pt idx="856">
                  <c:v>294.47167839999997</c:v>
                </c:pt>
                <c:pt idx="857">
                  <c:v>296.29959739999998</c:v>
                </c:pt>
                <c:pt idx="858">
                  <c:v>295.39601069999998</c:v>
                </c:pt>
                <c:pt idx="859">
                  <c:v>294.04677750000002</c:v>
                </c:pt>
                <c:pt idx="860">
                  <c:v>295.46055260000003</c:v>
                </c:pt>
                <c:pt idx="861">
                  <c:v>293.43823950000001</c:v>
                </c:pt>
                <c:pt idx="862">
                  <c:v>293.95457479999999</c:v>
                </c:pt>
                <c:pt idx="863">
                  <c:v>293.94842790000001</c:v>
                </c:pt>
                <c:pt idx="864">
                  <c:v>298.41411319999997</c:v>
                </c:pt>
                <c:pt idx="865">
                  <c:v>298.03224019999999</c:v>
                </c:pt>
                <c:pt idx="866">
                  <c:v>296.4040938</c:v>
                </c:pt>
                <c:pt idx="867">
                  <c:v>298.46712969999999</c:v>
                </c:pt>
                <c:pt idx="868">
                  <c:v>299.5182408</c:v>
                </c:pt>
                <c:pt idx="869">
                  <c:v>299.8785997</c:v>
                </c:pt>
                <c:pt idx="870">
                  <c:v>295.40138919999998</c:v>
                </c:pt>
                <c:pt idx="871">
                  <c:v>294.9757199</c:v>
                </c:pt>
                <c:pt idx="872">
                  <c:v>293.54043089999999</c:v>
                </c:pt>
                <c:pt idx="873">
                  <c:v>291.93764019999998</c:v>
                </c:pt>
                <c:pt idx="874">
                  <c:v>294.423272</c:v>
                </c:pt>
                <c:pt idx="875">
                  <c:v>296.89199989999997</c:v>
                </c:pt>
                <c:pt idx="876">
                  <c:v>295.26615850000002</c:v>
                </c:pt>
                <c:pt idx="877">
                  <c:v>295.2308142</c:v>
                </c:pt>
                <c:pt idx="878">
                  <c:v>296.1536097</c:v>
                </c:pt>
                <c:pt idx="879">
                  <c:v>297.72028769999997</c:v>
                </c:pt>
                <c:pt idx="880">
                  <c:v>297.61425450000002</c:v>
                </c:pt>
                <c:pt idx="881">
                  <c:v>295.88161170000001</c:v>
                </c:pt>
                <c:pt idx="882">
                  <c:v>296.72296160000002</c:v>
                </c:pt>
                <c:pt idx="883">
                  <c:v>297.49515939999998</c:v>
                </c:pt>
                <c:pt idx="884">
                  <c:v>298.50785259999998</c:v>
                </c:pt>
                <c:pt idx="885">
                  <c:v>301.7941113</c:v>
                </c:pt>
                <c:pt idx="886">
                  <c:v>303.04960510000001</c:v>
                </c:pt>
                <c:pt idx="887">
                  <c:v>303.35156899999998</c:v>
                </c:pt>
                <c:pt idx="888">
                  <c:v>305.06269789999999</c:v>
                </c:pt>
                <c:pt idx="889">
                  <c:v>304.73153639999998</c:v>
                </c:pt>
                <c:pt idx="890">
                  <c:v>304.07151859999999</c:v>
                </c:pt>
                <c:pt idx="891">
                  <c:v>299.17324889999998</c:v>
                </c:pt>
                <c:pt idx="892">
                  <c:v>299.70034120000003</c:v>
                </c:pt>
                <c:pt idx="893">
                  <c:v>295.40138919999998</c:v>
                </c:pt>
                <c:pt idx="894">
                  <c:v>297.33764639999998</c:v>
                </c:pt>
                <c:pt idx="895">
                  <c:v>295.38141189999999</c:v>
                </c:pt>
                <c:pt idx="896">
                  <c:v>290.85733169999997</c:v>
                </c:pt>
                <c:pt idx="897">
                  <c:v>291.7985678</c:v>
                </c:pt>
                <c:pt idx="898">
                  <c:v>285.5725789</c:v>
                </c:pt>
                <c:pt idx="899">
                  <c:v>286.40086669999999</c:v>
                </c:pt>
                <c:pt idx="900">
                  <c:v>281.43575010000001</c:v>
                </c:pt>
                <c:pt idx="901">
                  <c:v>280.54215199999999</c:v>
                </c:pt>
                <c:pt idx="902">
                  <c:v>283.25982729999998</c:v>
                </c:pt>
                <c:pt idx="903">
                  <c:v>278.63278730000002</c:v>
                </c:pt>
                <c:pt idx="904">
                  <c:v>279.43264590000001</c:v>
                </c:pt>
                <c:pt idx="905">
                  <c:v>278.50063010000002</c:v>
                </c:pt>
                <c:pt idx="906">
                  <c:v>280.3431478</c:v>
                </c:pt>
                <c:pt idx="907">
                  <c:v>281.68239240000003</c:v>
                </c:pt>
                <c:pt idx="908">
                  <c:v>279.56326639999997</c:v>
                </c:pt>
                <c:pt idx="909">
                  <c:v>279.73230480000001</c:v>
                </c:pt>
                <c:pt idx="910">
                  <c:v>275.81292070000001</c:v>
                </c:pt>
                <c:pt idx="911">
                  <c:v>273.21357219999999</c:v>
                </c:pt>
                <c:pt idx="912">
                  <c:v>274.14712479999997</c:v>
                </c:pt>
                <c:pt idx="913">
                  <c:v>279.92593049999999</c:v>
                </c:pt>
                <c:pt idx="914">
                  <c:v>281.11304050000001</c:v>
                </c:pt>
                <c:pt idx="915">
                  <c:v>277.93435169999998</c:v>
                </c:pt>
                <c:pt idx="916">
                  <c:v>281.54793000000001</c:v>
                </c:pt>
                <c:pt idx="917">
                  <c:v>281.88216490000002</c:v>
                </c:pt>
                <c:pt idx="918">
                  <c:v>282.95171649999997</c:v>
                </c:pt>
                <c:pt idx="919">
                  <c:v>279.52408029999998</c:v>
                </c:pt>
                <c:pt idx="920">
                  <c:v>284.0320251</c:v>
                </c:pt>
                <c:pt idx="921">
                  <c:v>285.0032271</c:v>
                </c:pt>
                <c:pt idx="922">
                  <c:v>287.93757879999998</c:v>
                </c:pt>
                <c:pt idx="923">
                  <c:v>291.38365549999997</c:v>
                </c:pt>
                <c:pt idx="924">
                  <c:v>287.97138639999997</c:v>
                </c:pt>
                <c:pt idx="925">
                  <c:v>286.60140760000002</c:v>
                </c:pt>
                <c:pt idx="926">
                  <c:v>285.49266990000001</c:v>
                </c:pt>
                <c:pt idx="927">
                  <c:v>285.44426349999998</c:v>
                </c:pt>
                <c:pt idx="928">
                  <c:v>289.47890089999999</c:v>
                </c:pt>
                <c:pt idx="929">
                  <c:v>288.60758520000002</c:v>
                </c:pt>
                <c:pt idx="930">
                  <c:v>293.32759629999998</c:v>
                </c:pt>
                <c:pt idx="931">
                  <c:v>295.9692043</c:v>
                </c:pt>
                <c:pt idx="932">
                  <c:v>300.16135480000003</c:v>
                </c:pt>
                <c:pt idx="933">
                  <c:v>300.26661949999999</c:v>
                </c:pt>
                <c:pt idx="934">
                  <c:v>301.04650090000001</c:v>
                </c:pt>
                <c:pt idx="935">
                  <c:v>299.54897499999998</c:v>
                </c:pt>
                <c:pt idx="936">
                  <c:v>295.86163440000001</c:v>
                </c:pt>
                <c:pt idx="937">
                  <c:v>299.62350550000002</c:v>
                </c:pt>
                <c:pt idx="938">
                  <c:v>301.8847773</c:v>
                </c:pt>
                <c:pt idx="939">
                  <c:v>298.83978239999999</c:v>
                </c:pt>
                <c:pt idx="940">
                  <c:v>301.9570028</c:v>
                </c:pt>
                <c:pt idx="941">
                  <c:v>304.76380740000002</c:v>
                </c:pt>
                <c:pt idx="942">
                  <c:v>306.62322890000002</c:v>
                </c:pt>
                <c:pt idx="943">
                  <c:v>307.44844330000001</c:v>
                </c:pt>
                <c:pt idx="944">
                  <c:v>308.97209329999998</c:v>
                </c:pt>
                <c:pt idx="945">
                  <c:v>309.03663519999998</c:v>
                </c:pt>
                <c:pt idx="946">
                  <c:v>304.12991360000001</c:v>
                </c:pt>
                <c:pt idx="947">
                  <c:v>304.1967606</c:v>
                </c:pt>
                <c:pt idx="948">
                  <c:v>304.78762640000002</c:v>
                </c:pt>
                <c:pt idx="949">
                  <c:v>306.47570459999997</c:v>
                </c:pt>
                <c:pt idx="950">
                  <c:v>308.28671969999999</c:v>
                </c:pt>
                <c:pt idx="951">
                  <c:v>309.79423430000003</c:v>
                </c:pt>
                <c:pt idx="952">
                  <c:v>310.79617050000002</c:v>
                </c:pt>
                <c:pt idx="953">
                  <c:v>312.79159110000001</c:v>
                </c:pt>
                <c:pt idx="954">
                  <c:v>310.10772350000002</c:v>
                </c:pt>
                <c:pt idx="955">
                  <c:v>311.54147590000002</c:v>
                </c:pt>
                <c:pt idx="956">
                  <c:v>313.76663489999999</c:v>
                </c:pt>
                <c:pt idx="957">
                  <c:v>312.90146600000003</c:v>
                </c:pt>
                <c:pt idx="958">
                  <c:v>313.37630999999999</c:v>
                </c:pt>
                <c:pt idx="959">
                  <c:v>314.33752340000001</c:v>
                </c:pt>
                <c:pt idx="960">
                  <c:v>314.05784180000001</c:v>
                </c:pt>
                <c:pt idx="961">
                  <c:v>313.92645299999998</c:v>
                </c:pt>
                <c:pt idx="962">
                  <c:v>315.08359710000002</c:v>
                </c:pt>
                <c:pt idx="963">
                  <c:v>315.21959620000001</c:v>
                </c:pt>
                <c:pt idx="964">
                  <c:v>316.54347360000003</c:v>
                </c:pt>
                <c:pt idx="965">
                  <c:v>315.91495839999999</c:v>
                </c:pt>
                <c:pt idx="966">
                  <c:v>316.0148446</c:v>
                </c:pt>
                <c:pt idx="967">
                  <c:v>316.7524664</c:v>
                </c:pt>
                <c:pt idx="968">
                  <c:v>316.65181180000002</c:v>
                </c:pt>
                <c:pt idx="969">
                  <c:v>318.08479579999999</c:v>
                </c:pt>
                <c:pt idx="970">
                  <c:v>316.31834529999998</c:v>
                </c:pt>
                <c:pt idx="971">
                  <c:v>315.39631800000001</c:v>
                </c:pt>
                <c:pt idx="972">
                  <c:v>314.42818940000001</c:v>
                </c:pt>
                <c:pt idx="973">
                  <c:v>314.80775729999999</c:v>
                </c:pt>
                <c:pt idx="974">
                  <c:v>312.8791837</c:v>
                </c:pt>
                <c:pt idx="975">
                  <c:v>314.8853613</c:v>
                </c:pt>
                <c:pt idx="976">
                  <c:v>315.89037100000002</c:v>
                </c:pt>
                <c:pt idx="977">
                  <c:v>315.5484525</c:v>
                </c:pt>
                <c:pt idx="978">
                  <c:v>313.53920149999999</c:v>
                </c:pt>
                <c:pt idx="979">
                  <c:v>313.86498449999999</c:v>
                </c:pt>
                <c:pt idx="980">
                  <c:v>317.87272949999999</c:v>
                </c:pt>
                <c:pt idx="981">
                  <c:v>318.03485260000002</c:v>
                </c:pt>
                <c:pt idx="982">
                  <c:v>319.38408579999998</c:v>
                </c:pt>
                <c:pt idx="983">
                  <c:v>322.54894430000002</c:v>
                </c:pt>
                <c:pt idx="984">
                  <c:v>322.2838615</c:v>
                </c:pt>
                <c:pt idx="985">
                  <c:v>329.9082583</c:v>
                </c:pt>
                <c:pt idx="986">
                  <c:v>328.87866120000001</c:v>
                </c:pt>
                <c:pt idx="987">
                  <c:v>326.24704179999998</c:v>
                </c:pt>
                <c:pt idx="988">
                  <c:v>328.86022070000001</c:v>
                </c:pt>
                <c:pt idx="989">
                  <c:v>327.33272890000001</c:v>
                </c:pt>
                <c:pt idx="990">
                  <c:v>329.73768330000001</c:v>
                </c:pt>
                <c:pt idx="991">
                  <c:v>325.65310260000001</c:v>
                </c:pt>
                <c:pt idx="992">
                  <c:v>327.73381069999999</c:v>
                </c:pt>
                <c:pt idx="993">
                  <c:v>325.01075700000001</c:v>
                </c:pt>
                <c:pt idx="994">
                  <c:v>328.0388481</c:v>
                </c:pt>
                <c:pt idx="995">
                  <c:v>329.55404620000002</c:v>
                </c:pt>
                <c:pt idx="996">
                  <c:v>328.48295789999997</c:v>
                </c:pt>
                <c:pt idx="997">
                  <c:v>330.11955619999998</c:v>
                </c:pt>
                <c:pt idx="998">
                  <c:v>329.54636260000001</c:v>
                </c:pt>
                <c:pt idx="999">
                  <c:v>330.8087716</c:v>
                </c:pt>
                <c:pt idx="1000">
                  <c:v>331.37351319999999</c:v>
                </c:pt>
                <c:pt idx="1001">
                  <c:v>328.99775640000001</c:v>
                </c:pt>
                <c:pt idx="1002">
                  <c:v>328.05882530000002</c:v>
                </c:pt>
                <c:pt idx="1003">
                  <c:v>326.894766</c:v>
                </c:pt>
                <c:pt idx="1004">
                  <c:v>327.37191510000002</c:v>
                </c:pt>
                <c:pt idx="1005">
                  <c:v>327.90899589999998</c:v>
                </c:pt>
                <c:pt idx="1006">
                  <c:v>327.38497710000001</c:v>
                </c:pt>
                <c:pt idx="1007">
                  <c:v>328.63509240000002</c:v>
                </c:pt>
                <c:pt idx="1008">
                  <c:v>331.48415649999998</c:v>
                </c:pt>
                <c:pt idx="1009">
                  <c:v>331.26287000000002</c:v>
                </c:pt>
                <c:pt idx="1010">
                  <c:v>328.47527430000002</c:v>
                </c:pt>
                <c:pt idx="1011">
                  <c:v>327.74533609999997</c:v>
                </c:pt>
                <c:pt idx="1012">
                  <c:v>327.33272890000001</c:v>
                </c:pt>
                <c:pt idx="1013">
                  <c:v>327.48947349999997</c:v>
                </c:pt>
                <c:pt idx="1014">
                  <c:v>328.91093219999999</c:v>
                </c:pt>
                <c:pt idx="1015">
                  <c:v>328.37615640000001</c:v>
                </c:pt>
                <c:pt idx="1016">
                  <c:v>325.67615330000001</c:v>
                </c:pt>
                <c:pt idx="1017">
                  <c:v>326.62430460000002</c:v>
                </c:pt>
                <c:pt idx="1018">
                  <c:v>327.47410639999998</c:v>
                </c:pt>
                <c:pt idx="1019">
                  <c:v>325.63158870000001</c:v>
                </c:pt>
                <c:pt idx="1020">
                  <c:v>324.4698343</c:v>
                </c:pt>
                <c:pt idx="1021">
                  <c:v>323.95196240000001</c:v>
                </c:pt>
                <c:pt idx="1022">
                  <c:v>322.8747272</c:v>
                </c:pt>
                <c:pt idx="1023">
                  <c:v>324.33076190000003</c:v>
                </c:pt>
                <c:pt idx="1024">
                  <c:v>321.0836893</c:v>
                </c:pt>
                <c:pt idx="1025">
                  <c:v>321.3841165</c:v>
                </c:pt>
                <c:pt idx="1026">
                  <c:v>320.99609679999998</c:v>
                </c:pt>
                <c:pt idx="1027">
                  <c:v>321.16974520000002</c:v>
                </c:pt>
                <c:pt idx="1028">
                  <c:v>319.54774559999998</c:v>
                </c:pt>
                <c:pt idx="1029">
                  <c:v>316.70867010000001</c:v>
                </c:pt>
                <c:pt idx="1030">
                  <c:v>315.54384240000002</c:v>
                </c:pt>
                <c:pt idx="1031">
                  <c:v>315.26416080000001</c:v>
                </c:pt>
                <c:pt idx="1032">
                  <c:v>315.92802039999998</c:v>
                </c:pt>
                <c:pt idx="1033">
                  <c:v>315.90343300000001</c:v>
                </c:pt>
                <c:pt idx="1034">
                  <c:v>317.99028800000002</c:v>
                </c:pt>
                <c:pt idx="1035">
                  <c:v>317.73903560000002</c:v>
                </c:pt>
                <c:pt idx="1036">
                  <c:v>318.46666870000001</c:v>
                </c:pt>
                <c:pt idx="1037">
                  <c:v>319.5608077</c:v>
                </c:pt>
                <c:pt idx="1038">
                  <c:v>320.50204380000002</c:v>
                </c:pt>
                <c:pt idx="1039">
                  <c:v>323.05836429999999</c:v>
                </c:pt>
                <c:pt idx="1040">
                  <c:v>323.47865510000003</c:v>
                </c:pt>
                <c:pt idx="1041">
                  <c:v>321.93656449999997</c:v>
                </c:pt>
                <c:pt idx="1042">
                  <c:v>322.75025360000001</c:v>
                </c:pt>
                <c:pt idx="1043">
                  <c:v>324.03801829999998</c:v>
                </c:pt>
                <c:pt idx="1044">
                  <c:v>324.17478560000001</c:v>
                </c:pt>
                <c:pt idx="1045">
                  <c:v>326.60509569999999</c:v>
                </c:pt>
                <c:pt idx="1046">
                  <c:v>327.00925100000001</c:v>
                </c:pt>
                <c:pt idx="1047">
                  <c:v>327.63085100000001</c:v>
                </c:pt>
                <c:pt idx="1048">
                  <c:v>330.97934659999999</c:v>
                </c:pt>
                <c:pt idx="1049">
                  <c:v>331.5187325</c:v>
                </c:pt>
                <c:pt idx="1050">
                  <c:v>330.33008569999998</c:v>
                </c:pt>
                <c:pt idx="1051">
                  <c:v>330.19485509999998</c:v>
                </c:pt>
                <c:pt idx="1052">
                  <c:v>330.99625040000001</c:v>
                </c:pt>
                <c:pt idx="1053">
                  <c:v>332.53219410000003</c:v>
                </c:pt>
                <c:pt idx="1054">
                  <c:v>333.14841560000002</c:v>
                </c:pt>
                <c:pt idx="1055">
                  <c:v>331.39733230000002</c:v>
                </c:pt>
                <c:pt idx="1056">
                  <c:v>332.279405</c:v>
                </c:pt>
                <c:pt idx="1057">
                  <c:v>333.1130713</c:v>
                </c:pt>
                <c:pt idx="1058">
                  <c:v>334.15726710000001</c:v>
                </c:pt>
                <c:pt idx="1059">
                  <c:v>334.1027138</c:v>
                </c:pt>
                <c:pt idx="1060">
                  <c:v>335.85072380000003</c:v>
                </c:pt>
                <c:pt idx="1061">
                  <c:v>338.33712389999999</c:v>
                </c:pt>
                <c:pt idx="1062">
                  <c:v>336.9141285</c:v>
                </c:pt>
                <c:pt idx="1063">
                  <c:v>336.14423579999999</c:v>
                </c:pt>
                <c:pt idx="1064">
                  <c:v>335.08467280000002</c:v>
                </c:pt>
                <c:pt idx="1065">
                  <c:v>336.60524939999999</c:v>
                </c:pt>
                <c:pt idx="1066">
                  <c:v>336.54454930000003</c:v>
                </c:pt>
                <c:pt idx="1067">
                  <c:v>337.4389157</c:v>
                </c:pt>
                <c:pt idx="1068">
                  <c:v>336.80579030000001</c:v>
                </c:pt>
                <c:pt idx="1069">
                  <c:v>338.22417560000002</c:v>
                </c:pt>
                <c:pt idx="1070">
                  <c:v>338.3839936</c:v>
                </c:pt>
                <c:pt idx="1071">
                  <c:v>337.46964989999998</c:v>
                </c:pt>
                <c:pt idx="1072">
                  <c:v>338.76279310000001</c:v>
                </c:pt>
                <c:pt idx="1073">
                  <c:v>336.15652949999998</c:v>
                </c:pt>
                <c:pt idx="1074">
                  <c:v>335.17533880000002</c:v>
                </c:pt>
                <c:pt idx="1075">
                  <c:v>335.91526570000002</c:v>
                </c:pt>
                <c:pt idx="1076">
                  <c:v>336.83959800000002</c:v>
                </c:pt>
                <c:pt idx="1077">
                  <c:v>336.76583579999999</c:v>
                </c:pt>
                <c:pt idx="1078">
                  <c:v>335.46654580000001</c:v>
                </c:pt>
                <c:pt idx="1079">
                  <c:v>337.05012749999997</c:v>
                </c:pt>
                <c:pt idx="1080">
                  <c:v>338.93183149999999</c:v>
                </c:pt>
                <c:pt idx="1081">
                  <c:v>336.75200539999997</c:v>
                </c:pt>
                <c:pt idx="1082">
                  <c:v>338.16578049999998</c:v>
                </c:pt>
                <c:pt idx="1083">
                  <c:v>341.47662659999997</c:v>
                </c:pt>
                <c:pt idx="1084">
                  <c:v>340.59916399999997</c:v>
                </c:pt>
                <c:pt idx="1085">
                  <c:v>339.25607769999999</c:v>
                </c:pt>
                <c:pt idx="1086">
                  <c:v>338.83501860000001</c:v>
                </c:pt>
                <c:pt idx="1087">
                  <c:v>339.17002179999997</c:v>
                </c:pt>
                <c:pt idx="1088">
                  <c:v>338.60758520000002</c:v>
                </c:pt>
                <c:pt idx="1089">
                  <c:v>338.86498449999999</c:v>
                </c:pt>
                <c:pt idx="1090">
                  <c:v>341.41592650000001</c:v>
                </c:pt>
                <c:pt idx="1091">
                  <c:v>343.34680520000001</c:v>
                </c:pt>
                <c:pt idx="1092">
                  <c:v>341.89307559999997</c:v>
                </c:pt>
                <c:pt idx="1093">
                  <c:v>342.08516459999998</c:v>
                </c:pt>
                <c:pt idx="1094">
                  <c:v>341.86695150000003</c:v>
                </c:pt>
                <c:pt idx="1095">
                  <c:v>343.15087440000002</c:v>
                </c:pt>
                <c:pt idx="1096">
                  <c:v>341.74555120000002</c:v>
                </c:pt>
                <c:pt idx="1097">
                  <c:v>341.41976829999999</c:v>
                </c:pt>
                <c:pt idx="1098">
                  <c:v>342.8081876</c:v>
                </c:pt>
                <c:pt idx="1099">
                  <c:v>340.46854350000001</c:v>
                </c:pt>
                <c:pt idx="1100">
                  <c:v>341.568061</c:v>
                </c:pt>
                <c:pt idx="1101">
                  <c:v>345.81553309999998</c:v>
                </c:pt>
                <c:pt idx="1102">
                  <c:v>346.1505363</c:v>
                </c:pt>
                <c:pt idx="1103">
                  <c:v>343.57347019999997</c:v>
                </c:pt>
                <c:pt idx="1104">
                  <c:v>346.3372468</c:v>
                </c:pt>
                <c:pt idx="1105">
                  <c:v>351.12717830000003</c:v>
                </c:pt>
                <c:pt idx="1106">
                  <c:v>350.01920890000002</c:v>
                </c:pt>
                <c:pt idx="1107">
                  <c:v>352.11605250000002</c:v>
                </c:pt>
                <c:pt idx="1108">
                  <c:v>350.45179330000002</c:v>
                </c:pt>
                <c:pt idx="1109">
                  <c:v>352.3941974</c:v>
                </c:pt>
                <c:pt idx="1110">
                  <c:v>350.97734889999998</c:v>
                </c:pt>
                <c:pt idx="1111">
                  <c:v>351.36229520000001</c:v>
                </c:pt>
                <c:pt idx="1112">
                  <c:v>351.62968310000002</c:v>
                </c:pt>
                <c:pt idx="1113">
                  <c:v>347.94234260000002</c:v>
                </c:pt>
                <c:pt idx="1114">
                  <c:v>348.8735901</c:v>
                </c:pt>
                <c:pt idx="1115">
                  <c:v>347.65574579999998</c:v>
                </c:pt>
                <c:pt idx="1116">
                  <c:v>348.14979870000002</c:v>
                </c:pt>
                <c:pt idx="1117">
                  <c:v>343.87620249999998</c:v>
                </c:pt>
                <c:pt idx="1118">
                  <c:v>348.87435840000001</c:v>
                </c:pt>
                <c:pt idx="1119">
                  <c:v>351.65042870000002</c:v>
                </c:pt>
                <c:pt idx="1120">
                  <c:v>354.97049509999999</c:v>
                </c:pt>
                <c:pt idx="1121">
                  <c:v>355.34698959999997</c:v>
                </c:pt>
                <c:pt idx="1122">
                  <c:v>356.36506129999998</c:v>
                </c:pt>
                <c:pt idx="1123">
                  <c:v>356.37351319999999</c:v>
                </c:pt>
                <c:pt idx="1124">
                  <c:v>355.13261820000002</c:v>
                </c:pt>
                <c:pt idx="1125">
                  <c:v>354.58170699999999</c:v>
                </c:pt>
                <c:pt idx="1126">
                  <c:v>352.92052130000002</c:v>
                </c:pt>
                <c:pt idx="1127">
                  <c:v>354.6262716</c:v>
                </c:pt>
                <c:pt idx="1128">
                  <c:v>357.63208040000001</c:v>
                </c:pt>
                <c:pt idx="1129">
                  <c:v>360.02550939999998</c:v>
                </c:pt>
                <c:pt idx="1130">
                  <c:v>358.23908169999999</c:v>
                </c:pt>
                <c:pt idx="1131">
                  <c:v>357.30399240000003</c:v>
                </c:pt>
                <c:pt idx="1132">
                  <c:v>358.02855210000001</c:v>
                </c:pt>
                <c:pt idx="1133">
                  <c:v>359.27636230000002</c:v>
                </c:pt>
                <c:pt idx="1134">
                  <c:v>359.46845130000003</c:v>
                </c:pt>
                <c:pt idx="1135">
                  <c:v>361.9364109</c:v>
                </c:pt>
                <c:pt idx="1136">
                  <c:v>361.18726370000002</c:v>
                </c:pt>
                <c:pt idx="1137">
                  <c:v>357.81802260000001</c:v>
                </c:pt>
                <c:pt idx="1138">
                  <c:v>360.02704610000001</c:v>
                </c:pt>
                <c:pt idx="1139">
                  <c:v>363.3163783</c:v>
                </c:pt>
                <c:pt idx="1140">
                  <c:v>364.2898854</c:v>
                </c:pt>
                <c:pt idx="1141">
                  <c:v>366.11703599999998</c:v>
                </c:pt>
                <c:pt idx="1142">
                  <c:v>368.046378</c:v>
                </c:pt>
                <c:pt idx="1143">
                  <c:v>368.04330449999998</c:v>
                </c:pt>
                <c:pt idx="1144">
                  <c:v>367.91114729999998</c:v>
                </c:pt>
                <c:pt idx="1145">
                  <c:v>365.84734300000002</c:v>
                </c:pt>
                <c:pt idx="1146">
                  <c:v>371.19125919999999</c:v>
                </c:pt>
                <c:pt idx="1147">
                  <c:v>374.46599259999999</c:v>
                </c:pt>
                <c:pt idx="1148">
                  <c:v>378.47143249999999</c:v>
                </c:pt>
                <c:pt idx="1149">
                  <c:v>378.6404708</c:v>
                </c:pt>
                <c:pt idx="1150">
                  <c:v>377.19749819999998</c:v>
                </c:pt>
                <c:pt idx="1151">
                  <c:v>376.37843070000002</c:v>
                </c:pt>
                <c:pt idx="1152">
                  <c:v>377.53096470000003</c:v>
                </c:pt>
                <c:pt idx="1153">
                  <c:v>377.38651379999999</c:v>
                </c:pt>
                <c:pt idx="1154">
                  <c:v>374.54052309999997</c:v>
                </c:pt>
                <c:pt idx="1155">
                  <c:v>373.84208749999999</c:v>
                </c:pt>
                <c:pt idx="1156">
                  <c:v>376.9132065</c:v>
                </c:pt>
                <c:pt idx="1157">
                  <c:v>376.57205640000001</c:v>
                </c:pt>
                <c:pt idx="1158">
                  <c:v>375.42413249999998</c:v>
                </c:pt>
                <c:pt idx="1159">
                  <c:v>369.13974860000002</c:v>
                </c:pt>
                <c:pt idx="1160">
                  <c:v>369.4724468</c:v>
                </c:pt>
                <c:pt idx="1161">
                  <c:v>368.38368630000002</c:v>
                </c:pt>
                <c:pt idx="1162">
                  <c:v>368.7763162</c:v>
                </c:pt>
                <c:pt idx="1163">
                  <c:v>365.54384240000002</c:v>
                </c:pt>
                <c:pt idx="1164">
                  <c:v>362.88840399999998</c:v>
                </c:pt>
                <c:pt idx="1165">
                  <c:v>357.88717459999998</c:v>
                </c:pt>
                <c:pt idx="1166">
                  <c:v>356.16067859999998</c:v>
                </c:pt>
                <c:pt idx="1167">
                  <c:v>358.64707870000001</c:v>
                </c:pt>
                <c:pt idx="1168">
                  <c:v>356.22983069999998</c:v>
                </c:pt>
                <c:pt idx="1169">
                  <c:v>353.5021668</c:v>
                </c:pt>
                <c:pt idx="1170">
                  <c:v>354.43034080000001</c:v>
                </c:pt>
                <c:pt idx="1171">
                  <c:v>352.7599348</c:v>
                </c:pt>
                <c:pt idx="1172">
                  <c:v>345.08713160000002</c:v>
                </c:pt>
                <c:pt idx="1173">
                  <c:v>343.7302148</c:v>
                </c:pt>
                <c:pt idx="1174">
                  <c:v>339.26760300000001</c:v>
                </c:pt>
                <c:pt idx="1175">
                  <c:v>348.0222516</c:v>
                </c:pt>
                <c:pt idx="1176">
                  <c:v>348.96886619999998</c:v>
                </c:pt>
                <c:pt idx="1177">
                  <c:v>347.18397520000002</c:v>
                </c:pt>
                <c:pt idx="1178">
                  <c:v>349.57970929999999</c:v>
                </c:pt>
                <c:pt idx="1179">
                  <c:v>340.13354029999999</c:v>
                </c:pt>
                <c:pt idx="1180">
                  <c:v>337.91299140000001</c:v>
                </c:pt>
                <c:pt idx="1181">
                  <c:v>331.0577189</c:v>
                </c:pt>
                <c:pt idx="1182">
                  <c:v>335.01936260000002</c:v>
                </c:pt>
                <c:pt idx="1183">
                  <c:v>337.28754959999998</c:v>
                </c:pt>
                <c:pt idx="1184">
                  <c:v>342.39558039999997</c:v>
                </c:pt>
                <c:pt idx="1185">
                  <c:v>346.59695119999998</c:v>
                </c:pt>
                <c:pt idx="1186">
                  <c:v>344.6338015</c:v>
                </c:pt>
                <c:pt idx="1187">
                  <c:v>344.54544060000001</c:v>
                </c:pt>
                <c:pt idx="1188">
                  <c:v>341.07170300000001</c:v>
                </c:pt>
                <c:pt idx="1189">
                  <c:v>343.39674830000001</c:v>
                </c:pt>
                <c:pt idx="1190">
                  <c:v>345.03949349999999</c:v>
                </c:pt>
                <c:pt idx="1191">
                  <c:v>340.08590220000002</c:v>
                </c:pt>
                <c:pt idx="1192">
                  <c:v>342.31029289999998</c:v>
                </c:pt>
                <c:pt idx="1193">
                  <c:v>344.73522450000002</c:v>
                </c:pt>
                <c:pt idx="1194">
                  <c:v>354.14835419999997</c:v>
                </c:pt>
                <c:pt idx="1195">
                  <c:v>353.07419249999998</c:v>
                </c:pt>
                <c:pt idx="1196">
                  <c:v>352.6900144</c:v>
                </c:pt>
                <c:pt idx="1197">
                  <c:v>351.94240400000001</c:v>
                </c:pt>
                <c:pt idx="1198">
                  <c:v>349.92316440000002</c:v>
                </c:pt>
                <c:pt idx="1199">
                  <c:v>351.93087869999999</c:v>
                </c:pt>
                <c:pt idx="1200">
                  <c:v>352.190583</c:v>
                </c:pt>
                <c:pt idx="1201">
                  <c:v>354.7922365</c:v>
                </c:pt>
                <c:pt idx="1202">
                  <c:v>359.17801270000001</c:v>
                </c:pt>
                <c:pt idx="1203">
                  <c:v>358.67781300000001</c:v>
                </c:pt>
                <c:pt idx="1204">
                  <c:v>353.75188250000002</c:v>
                </c:pt>
                <c:pt idx="1205">
                  <c:v>354.8360328</c:v>
                </c:pt>
                <c:pt idx="1206">
                  <c:v>352.02845989999997</c:v>
                </c:pt>
                <c:pt idx="1207">
                  <c:v>350.96275009999999</c:v>
                </c:pt>
                <c:pt idx="1208">
                  <c:v>347.00648489999998</c:v>
                </c:pt>
                <c:pt idx="1209">
                  <c:v>350.14368259999998</c:v>
                </c:pt>
                <c:pt idx="1210">
                  <c:v>349.77794510000001</c:v>
                </c:pt>
                <c:pt idx="1211">
                  <c:v>351.68730979999998</c:v>
                </c:pt>
                <c:pt idx="1212">
                  <c:v>350.78525990000003</c:v>
                </c:pt>
                <c:pt idx="1213">
                  <c:v>349.9531303</c:v>
                </c:pt>
                <c:pt idx="1214">
                  <c:v>351.64351349999998</c:v>
                </c:pt>
                <c:pt idx="1215">
                  <c:v>351.69806679999999</c:v>
                </c:pt>
                <c:pt idx="1216">
                  <c:v>352.7906691</c:v>
                </c:pt>
                <c:pt idx="1217">
                  <c:v>353.46067549999998</c:v>
                </c:pt>
                <c:pt idx="1218">
                  <c:v>352.82447669999999</c:v>
                </c:pt>
                <c:pt idx="1219">
                  <c:v>350.69689890000001</c:v>
                </c:pt>
                <c:pt idx="1220">
                  <c:v>348.78907090000001</c:v>
                </c:pt>
                <c:pt idx="1221">
                  <c:v>342.20272310000001</c:v>
                </c:pt>
                <c:pt idx="1222">
                  <c:v>335.91526570000002</c:v>
                </c:pt>
                <c:pt idx="1223">
                  <c:v>334.0765897</c:v>
                </c:pt>
                <c:pt idx="1224">
                  <c:v>331.15760519999998</c:v>
                </c:pt>
                <c:pt idx="1225">
                  <c:v>332.29323540000001</c:v>
                </c:pt>
                <c:pt idx="1226">
                  <c:v>331.65934170000003</c:v>
                </c:pt>
                <c:pt idx="1227">
                  <c:v>325.31041579999999</c:v>
                </c:pt>
                <c:pt idx="1228">
                  <c:v>325.3472969</c:v>
                </c:pt>
                <c:pt idx="1229">
                  <c:v>330.90635279999998</c:v>
                </c:pt>
                <c:pt idx="1230">
                  <c:v>331.74462920000002</c:v>
                </c:pt>
                <c:pt idx="1231">
                  <c:v>333.88373239999999</c:v>
                </c:pt>
                <c:pt idx="1232">
                  <c:v>333.06773829999997</c:v>
                </c:pt>
                <c:pt idx="1233">
                  <c:v>330.190245</c:v>
                </c:pt>
                <c:pt idx="1234">
                  <c:v>329.80990869999999</c:v>
                </c:pt>
                <c:pt idx="1235">
                  <c:v>331.39502720000002</c:v>
                </c:pt>
                <c:pt idx="1236">
                  <c:v>337.76393030000003</c:v>
                </c:pt>
                <c:pt idx="1237">
                  <c:v>340.00368809999998</c:v>
                </c:pt>
                <c:pt idx="1238">
                  <c:v>341.78473739999998</c:v>
                </c:pt>
                <c:pt idx="1239">
                  <c:v>342.61763530000002</c:v>
                </c:pt>
                <c:pt idx="1240">
                  <c:v>341.07323969999999</c:v>
                </c:pt>
                <c:pt idx="1241">
                  <c:v>347.18704860000003</c:v>
                </c:pt>
                <c:pt idx="1242">
                  <c:v>347.58044690000003</c:v>
                </c:pt>
                <c:pt idx="1243">
                  <c:v>348.20435199999997</c:v>
                </c:pt>
                <c:pt idx="1244">
                  <c:v>359.42465499999997</c:v>
                </c:pt>
                <c:pt idx="1245">
                  <c:v>359.2602268</c:v>
                </c:pt>
              </c:numCache>
            </c:numRef>
          </c:val>
          <c:smooth val="0"/>
        </c:ser>
        <c:ser>
          <c:idx val="1"/>
          <c:order val="1"/>
          <c:tx>
            <c:strRef>
              <c:f>Sheet1!$C$1</c:f>
              <c:strCache>
                <c:ptCount val="1"/>
                <c:pt idx="0">
                  <c:v>Benchmark 1</c:v>
                </c:pt>
              </c:strCache>
            </c:strRef>
          </c:tx>
          <c:spPr>
            <a:ln w="12700">
              <a:solidFill>
                <a:schemeClr val="accent2"/>
              </a:solidFill>
              <a:prstDash val="solid"/>
            </a:ln>
          </c:spPr>
          <c:marker>
            <c:symbol val="none"/>
          </c:marker>
          <c:cat>
            <c:numRef>
              <c:f>Sheet1!$A$2:$A$1247</c:f>
              <c:numCache>
                <c:formatCode>m/d/yyyy</c:formatCode>
                <c:ptCount val="1246"/>
                <c:pt idx="0">
                  <c:v>39769</c:v>
                </c:pt>
                <c:pt idx="1">
                  <c:v>39770</c:v>
                </c:pt>
                <c:pt idx="2">
                  <c:v>39771</c:v>
                </c:pt>
                <c:pt idx="3">
                  <c:v>39772</c:v>
                </c:pt>
                <c:pt idx="4">
                  <c:v>39773</c:v>
                </c:pt>
                <c:pt idx="5">
                  <c:v>39776</c:v>
                </c:pt>
                <c:pt idx="6">
                  <c:v>39777</c:v>
                </c:pt>
                <c:pt idx="7">
                  <c:v>39778</c:v>
                </c:pt>
                <c:pt idx="8">
                  <c:v>39779</c:v>
                </c:pt>
                <c:pt idx="9">
                  <c:v>39780</c:v>
                </c:pt>
                <c:pt idx="10">
                  <c:v>39783</c:v>
                </c:pt>
                <c:pt idx="11">
                  <c:v>39784</c:v>
                </c:pt>
                <c:pt idx="12">
                  <c:v>39785</c:v>
                </c:pt>
                <c:pt idx="13">
                  <c:v>39786</c:v>
                </c:pt>
                <c:pt idx="14">
                  <c:v>39787</c:v>
                </c:pt>
                <c:pt idx="15">
                  <c:v>39790</c:v>
                </c:pt>
                <c:pt idx="16">
                  <c:v>39791</c:v>
                </c:pt>
                <c:pt idx="17">
                  <c:v>39792</c:v>
                </c:pt>
                <c:pt idx="18">
                  <c:v>39793</c:v>
                </c:pt>
                <c:pt idx="19">
                  <c:v>39794</c:v>
                </c:pt>
                <c:pt idx="20">
                  <c:v>39797</c:v>
                </c:pt>
                <c:pt idx="21">
                  <c:v>39798</c:v>
                </c:pt>
                <c:pt idx="22">
                  <c:v>39799</c:v>
                </c:pt>
                <c:pt idx="23">
                  <c:v>39800</c:v>
                </c:pt>
                <c:pt idx="24">
                  <c:v>39801</c:v>
                </c:pt>
                <c:pt idx="25">
                  <c:v>39804</c:v>
                </c:pt>
                <c:pt idx="26">
                  <c:v>39805</c:v>
                </c:pt>
                <c:pt idx="27">
                  <c:v>39806</c:v>
                </c:pt>
                <c:pt idx="28">
                  <c:v>39811</c:v>
                </c:pt>
                <c:pt idx="29">
                  <c:v>39812</c:v>
                </c:pt>
                <c:pt idx="30">
                  <c:v>39813</c:v>
                </c:pt>
                <c:pt idx="31">
                  <c:v>39815</c:v>
                </c:pt>
                <c:pt idx="32">
                  <c:v>39818</c:v>
                </c:pt>
                <c:pt idx="33">
                  <c:v>39819</c:v>
                </c:pt>
                <c:pt idx="34">
                  <c:v>39820</c:v>
                </c:pt>
                <c:pt idx="35">
                  <c:v>39821</c:v>
                </c:pt>
                <c:pt idx="36">
                  <c:v>39822</c:v>
                </c:pt>
                <c:pt idx="37">
                  <c:v>39825</c:v>
                </c:pt>
                <c:pt idx="38">
                  <c:v>39826</c:v>
                </c:pt>
                <c:pt idx="39">
                  <c:v>39827</c:v>
                </c:pt>
                <c:pt idx="40">
                  <c:v>39828</c:v>
                </c:pt>
                <c:pt idx="41">
                  <c:v>39829</c:v>
                </c:pt>
                <c:pt idx="42">
                  <c:v>39832</c:v>
                </c:pt>
                <c:pt idx="43">
                  <c:v>39833</c:v>
                </c:pt>
                <c:pt idx="44">
                  <c:v>39834</c:v>
                </c:pt>
                <c:pt idx="45">
                  <c:v>39835</c:v>
                </c:pt>
                <c:pt idx="46">
                  <c:v>39836</c:v>
                </c:pt>
                <c:pt idx="47">
                  <c:v>39839</c:v>
                </c:pt>
                <c:pt idx="48">
                  <c:v>39840</c:v>
                </c:pt>
                <c:pt idx="49">
                  <c:v>39841</c:v>
                </c:pt>
                <c:pt idx="50">
                  <c:v>39842</c:v>
                </c:pt>
                <c:pt idx="51">
                  <c:v>39843</c:v>
                </c:pt>
                <c:pt idx="52">
                  <c:v>39846</c:v>
                </c:pt>
                <c:pt idx="53">
                  <c:v>39847</c:v>
                </c:pt>
                <c:pt idx="54">
                  <c:v>39848</c:v>
                </c:pt>
                <c:pt idx="55">
                  <c:v>39849</c:v>
                </c:pt>
                <c:pt idx="56">
                  <c:v>39850</c:v>
                </c:pt>
                <c:pt idx="57">
                  <c:v>39853</c:v>
                </c:pt>
                <c:pt idx="58">
                  <c:v>39854</c:v>
                </c:pt>
                <c:pt idx="59">
                  <c:v>39855</c:v>
                </c:pt>
                <c:pt idx="60">
                  <c:v>39856</c:v>
                </c:pt>
                <c:pt idx="61">
                  <c:v>39857</c:v>
                </c:pt>
                <c:pt idx="62">
                  <c:v>39860</c:v>
                </c:pt>
                <c:pt idx="63">
                  <c:v>39861</c:v>
                </c:pt>
                <c:pt idx="64">
                  <c:v>39862</c:v>
                </c:pt>
                <c:pt idx="65">
                  <c:v>39863</c:v>
                </c:pt>
                <c:pt idx="66">
                  <c:v>39864</c:v>
                </c:pt>
                <c:pt idx="67">
                  <c:v>39867</c:v>
                </c:pt>
                <c:pt idx="68">
                  <c:v>39868</c:v>
                </c:pt>
                <c:pt idx="69">
                  <c:v>39869</c:v>
                </c:pt>
                <c:pt idx="70">
                  <c:v>39870</c:v>
                </c:pt>
                <c:pt idx="71">
                  <c:v>39871</c:v>
                </c:pt>
                <c:pt idx="72">
                  <c:v>39874</c:v>
                </c:pt>
                <c:pt idx="73">
                  <c:v>39875</c:v>
                </c:pt>
                <c:pt idx="74">
                  <c:v>39876</c:v>
                </c:pt>
                <c:pt idx="75">
                  <c:v>39877</c:v>
                </c:pt>
                <c:pt idx="76">
                  <c:v>39878</c:v>
                </c:pt>
                <c:pt idx="77">
                  <c:v>39881</c:v>
                </c:pt>
                <c:pt idx="78">
                  <c:v>39882</c:v>
                </c:pt>
                <c:pt idx="79">
                  <c:v>39883</c:v>
                </c:pt>
                <c:pt idx="80">
                  <c:v>39884</c:v>
                </c:pt>
                <c:pt idx="81">
                  <c:v>39885</c:v>
                </c:pt>
                <c:pt idx="82">
                  <c:v>39888</c:v>
                </c:pt>
                <c:pt idx="83">
                  <c:v>39889</c:v>
                </c:pt>
                <c:pt idx="84">
                  <c:v>39890</c:v>
                </c:pt>
                <c:pt idx="85">
                  <c:v>39891</c:v>
                </c:pt>
                <c:pt idx="86">
                  <c:v>39892</c:v>
                </c:pt>
                <c:pt idx="87">
                  <c:v>39895</c:v>
                </c:pt>
                <c:pt idx="88">
                  <c:v>39896</c:v>
                </c:pt>
                <c:pt idx="89">
                  <c:v>39897</c:v>
                </c:pt>
                <c:pt idx="90">
                  <c:v>39898</c:v>
                </c:pt>
                <c:pt idx="91">
                  <c:v>39899</c:v>
                </c:pt>
                <c:pt idx="92">
                  <c:v>39902</c:v>
                </c:pt>
                <c:pt idx="93">
                  <c:v>39903</c:v>
                </c:pt>
                <c:pt idx="94">
                  <c:v>39904</c:v>
                </c:pt>
                <c:pt idx="95">
                  <c:v>39905</c:v>
                </c:pt>
                <c:pt idx="96">
                  <c:v>39906</c:v>
                </c:pt>
                <c:pt idx="97">
                  <c:v>39909</c:v>
                </c:pt>
                <c:pt idx="98">
                  <c:v>39910</c:v>
                </c:pt>
                <c:pt idx="99">
                  <c:v>39911</c:v>
                </c:pt>
                <c:pt idx="100">
                  <c:v>39912</c:v>
                </c:pt>
                <c:pt idx="101">
                  <c:v>39917</c:v>
                </c:pt>
                <c:pt idx="102">
                  <c:v>39918</c:v>
                </c:pt>
                <c:pt idx="103">
                  <c:v>39919</c:v>
                </c:pt>
                <c:pt idx="104">
                  <c:v>39920</c:v>
                </c:pt>
                <c:pt idx="105">
                  <c:v>39923</c:v>
                </c:pt>
                <c:pt idx="106">
                  <c:v>39924</c:v>
                </c:pt>
                <c:pt idx="107">
                  <c:v>39925</c:v>
                </c:pt>
                <c:pt idx="108">
                  <c:v>39926</c:v>
                </c:pt>
                <c:pt idx="109">
                  <c:v>39927</c:v>
                </c:pt>
                <c:pt idx="110">
                  <c:v>39930</c:v>
                </c:pt>
                <c:pt idx="111">
                  <c:v>39931</c:v>
                </c:pt>
                <c:pt idx="112">
                  <c:v>39932</c:v>
                </c:pt>
                <c:pt idx="113">
                  <c:v>39933</c:v>
                </c:pt>
                <c:pt idx="114">
                  <c:v>39934</c:v>
                </c:pt>
                <c:pt idx="115">
                  <c:v>39937</c:v>
                </c:pt>
                <c:pt idx="116">
                  <c:v>39938</c:v>
                </c:pt>
                <c:pt idx="117">
                  <c:v>39939</c:v>
                </c:pt>
                <c:pt idx="118">
                  <c:v>39940</c:v>
                </c:pt>
                <c:pt idx="119">
                  <c:v>39941</c:v>
                </c:pt>
                <c:pt idx="120">
                  <c:v>39944</c:v>
                </c:pt>
                <c:pt idx="121">
                  <c:v>39945</c:v>
                </c:pt>
                <c:pt idx="122">
                  <c:v>39946</c:v>
                </c:pt>
                <c:pt idx="123">
                  <c:v>39947</c:v>
                </c:pt>
                <c:pt idx="124">
                  <c:v>39948</c:v>
                </c:pt>
                <c:pt idx="125">
                  <c:v>39951</c:v>
                </c:pt>
                <c:pt idx="126">
                  <c:v>39952</c:v>
                </c:pt>
                <c:pt idx="127">
                  <c:v>39953</c:v>
                </c:pt>
                <c:pt idx="128">
                  <c:v>39954</c:v>
                </c:pt>
                <c:pt idx="129">
                  <c:v>39955</c:v>
                </c:pt>
                <c:pt idx="130">
                  <c:v>39958</c:v>
                </c:pt>
                <c:pt idx="131">
                  <c:v>39959</c:v>
                </c:pt>
                <c:pt idx="132">
                  <c:v>39960</c:v>
                </c:pt>
                <c:pt idx="133">
                  <c:v>39961</c:v>
                </c:pt>
                <c:pt idx="134">
                  <c:v>39962</c:v>
                </c:pt>
                <c:pt idx="135">
                  <c:v>39965</c:v>
                </c:pt>
                <c:pt idx="136">
                  <c:v>39966</c:v>
                </c:pt>
                <c:pt idx="137">
                  <c:v>39967</c:v>
                </c:pt>
                <c:pt idx="138">
                  <c:v>39968</c:v>
                </c:pt>
                <c:pt idx="139">
                  <c:v>39969</c:v>
                </c:pt>
                <c:pt idx="140">
                  <c:v>39972</c:v>
                </c:pt>
                <c:pt idx="141">
                  <c:v>39973</c:v>
                </c:pt>
                <c:pt idx="142">
                  <c:v>39974</c:v>
                </c:pt>
                <c:pt idx="143">
                  <c:v>39975</c:v>
                </c:pt>
                <c:pt idx="144">
                  <c:v>39976</c:v>
                </c:pt>
                <c:pt idx="145">
                  <c:v>39979</c:v>
                </c:pt>
                <c:pt idx="146">
                  <c:v>39980</c:v>
                </c:pt>
                <c:pt idx="147">
                  <c:v>39981</c:v>
                </c:pt>
                <c:pt idx="148">
                  <c:v>39982</c:v>
                </c:pt>
                <c:pt idx="149">
                  <c:v>39983</c:v>
                </c:pt>
                <c:pt idx="150">
                  <c:v>39986</c:v>
                </c:pt>
                <c:pt idx="151">
                  <c:v>39987</c:v>
                </c:pt>
                <c:pt idx="152">
                  <c:v>39988</c:v>
                </c:pt>
                <c:pt idx="153">
                  <c:v>39989</c:v>
                </c:pt>
                <c:pt idx="154">
                  <c:v>39990</c:v>
                </c:pt>
                <c:pt idx="155">
                  <c:v>39993</c:v>
                </c:pt>
                <c:pt idx="156">
                  <c:v>39994</c:v>
                </c:pt>
                <c:pt idx="157">
                  <c:v>39995</c:v>
                </c:pt>
                <c:pt idx="158">
                  <c:v>39996</c:v>
                </c:pt>
                <c:pt idx="159">
                  <c:v>39997</c:v>
                </c:pt>
                <c:pt idx="160">
                  <c:v>40000</c:v>
                </c:pt>
                <c:pt idx="161">
                  <c:v>40001</c:v>
                </c:pt>
                <c:pt idx="162">
                  <c:v>40002</c:v>
                </c:pt>
                <c:pt idx="163">
                  <c:v>40003</c:v>
                </c:pt>
                <c:pt idx="164">
                  <c:v>40004</c:v>
                </c:pt>
                <c:pt idx="165">
                  <c:v>40007</c:v>
                </c:pt>
                <c:pt idx="166">
                  <c:v>40008</c:v>
                </c:pt>
                <c:pt idx="167">
                  <c:v>40009</c:v>
                </c:pt>
                <c:pt idx="168">
                  <c:v>40010</c:v>
                </c:pt>
                <c:pt idx="169">
                  <c:v>40011</c:v>
                </c:pt>
                <c:pt idx="170">
                  <c:v>40014</c:v>
                </c:pt>
                <c:pt idx="171">
                  <c:v>40015</c:v>
                </c:pt>
                <c:pt idx="172">
                  <c:v>40016</c:v>
                </c:pt>
                <c:pt idx="173">
                  <c:v>40017</c:v>
                </c:pt>
                <c:pt idx="174">
                  <c:v>40018</c:v>
                </c:pt>
                <c:pt idx="175">
                  <c:v>40021</c:v>
                </c:pt>
                <c:pt idx="176">
                  <c:v>40022</c:v>
                </c:pt>
                <c:pt idx="177">
                  <c:v>40023</c:v>
                </c:pt>
                <c:pt idx="178">
                  <c:v>40024</c:v>
                </c:pt>
                <c:pt idx="179">
                  <c:v>40025</c:v>
                </c:pt>
                <c:pt idx="180">
                  <c:v>40028</c:v>
                </c:pt>
                <c:pt idx="181">
                  <c:v>40029</c:v>
                </c:pt>
                <c:pt idx="182">
                  <c:v>40030</c:v>
                </c:pt>
                <c:pt idx="183">
                  <c:v>40031</c:v>
                </c:pt>
                <c:pt idx="184">
                  <c:v>40032</c:v>
                </c:pt>
                <c:pt idx="185">
                  <c:v>40035</c:v>
                </c:pt>
                <c:pt idx="186">
                  <c:v>40036</c:v>
                </c:pt>
                <c:pt idx="187">
                  <c:v>40037</c:v>
                </c:pt>
                <c:pt idx="188">
                  <c:v>40038</c:v>
                </c:pt>
                <c:pt idx="189">
                  <c:v>40039</c:v>
                </c:pt>
                <c:pt idx="190">
                  <c:v>40042</c:v>
                </c:pt>
                <c:pt idx="191">
                  <c:v>40043</c:v>
                </c:pt>
                <c:pt idx="192">
                  <c:v>40044</c:v>
                </c:pt>
                <c:pt idx="193">
                  <c:v>40045</c:v>
                </c:pt>
                <c:pt idx="194">
                  <c:v>40046</c:v>
                </c:pt>
                <c:pt idx="195">
                  <c:v>40049</c:v>
                </c:pt>
                <c:pt idx="196">
                  <c:v>40050</c:v>
                </c:pt>
                <c:pt idx="197">
                  <c:v>40051</c:v>
                </c:pt>
                <c:pt idx="198">
                  <c:v>40052</c:v>
                </c:pt>
                <c:pt idx="199">
                  <c:v>40053</c:v>
                </c:pt>
                <c:pt idx="200">
                  <c:v>40056</c:v>
                </c:pt>
                <c:pt idx="201">
                  <c:v>40057</c:v>
                </c:pt>
                <c:pt idx="202">
                  <c:v>40058</c:v>
                </c:pt>
                <c:pt idx="203">
                  <c:v>40059</c:v>
                </c:pt>
                <c:pt idx="204">
                  <c:v>40060</c:v>
                </c:pt>
                <c:pt idx="205">
                  <c:v>40063</c:v>
                </c:pt>
                <c:pt idx="206">
                  <c:v>40064</c:v>
                </c:pt>
                <c:pt idx="207">
                  <c:v>40065</c:v>
                </c:pt>
                <c:pt idx="208">
                  <c:v>40066</c:v>
                </c:pt>
                <c:pt idx="209">
                  <c:v>40067</c:v>
                </c:pt>
                <c:pt idx="210">
                  <c:v>40070</c:v>
                </c:pt>
                <c:pt idx="211">
                  <c:v>40071</c:v>
                </c:pt>
                <c:pt idx="212">
                  <c:v>40072</c:v>
                </c:pt>
                <c:pt idx="213">
                  <c:v>40073</c:v>
                </c:pt>
                <c:pt idx="214">
                  <c:v>40074</c:v>
                </c:pt>
                <c:pt idx="215">
                  <c:v>40077</c:v>
                </c:pt>
                <c:pt idx="216">
                  <c:v>40078</c:v>
                </c:pt>
                <c:pt idx="217">
                  <c:v>40079</c:v>
                </c:pt>
                <c:pt idx="218">
                  <c:v>40080</c:v>
                </c:pt>
                <c:pt idx="219">
                  <c:v>40081</c:v>
                </c:pt>
                <c:pt idx="220">
                  <c:v>40084</c:v>
                </c:pt>
                <c:pt idx="221">
                  <c:v>40085</c:v>
                </c:pt>
                <c:pt idx="222">
                  <c:v>40086</c:v>
                </c:pt>
                <c:pt idx="223">
                  <c:v>40087</c:v>
                </c:pt>
                <c:pt idx="224">
                  <c:v>40088</c:v>
                </c:pt>
                <c:pt idx="225">
                  <c:v>40091</c:v>
                </c:pt>
                <c:pt idx="226">
                  <c:v>40092</c:v>
                </c:pt>
                <c:pt idx="227">
                  <c:v>40093</c:v>
                </c:pt>
                <c:pt idx="228">
                  <c:v>40094</c:v>
                </c:pt>
                <c:pt idx="229">
                  <c:v>40095</c:v>
                </c:pt>
                <c:pt idx="230">
                  <c:v>40098</c:v>
                </c:pt>
                <c:pt idx="231">
                  <c:v>40099</c:v>
                </c:pt>
                <c:pt idx="232">
                  <c:v>40100</c:v>
                </c:pt>
                <c:pt idx="233">
                  <c:v>40101</c:v>
                </c:pt>
                <c:pt idx="234">
                  <c:v>40102</c:v>
                </c:pt>
                <c:pt idx="235">
                  <c:v>40105</c:v>
                </c:pt>
                <c:pt idx="236">
                  <c:v>40106</c:v>
                </c:pt>
                <c:pt idx="237">
                  <c:v>40107</c:v>
                </c:pt>
                <c:pt idx="238">
                  <c:v>40108</c:v>
                </c:pt>
                <c:pt idx="239">
                  <c:v>40109</c:v>
                </c:pt>
                <c:pt idx="240">
                  <c:v>40112</c:v>
                </c:pt>
                <c:pt idx="241">
                  <c:v>40113</c:v>
                </c:pt>
                <c:pt idx="242">
                  <c:v>40114</c:v>
                </c:pt>
                <c:pt idx="243">
                  <c:v>40115</c:v>
                </c:pt>
                <c:pt idx="244">
                  <c:v>40116</c:v>
                </c:pt>
                <c:pt idx="245">
                  <c:v>40119</c:v>
                </c:pt>
                <c:pt idx="246">
                  <c:v>40120</c:v>
                </c:pt>
                <c:pt idx="247">
                  <c:v>40121</c:v>
                </c:pt>
                <c:pt idx="248">
                  <c:v>40122</c:v>
                </c:pt>
                <c:pt idx="249">
                  <c:v>40123</c:v>
                </c:pt>
                <c:pt idx="250">
                  <c:v>40126</c:v>
                </c:pt>
                <c:pt idx="251">
                  <c:v>40127</c:v>
                </c:pt>
                <c:pt idx="252">
                  <c:v>40128</c:v>
                </c:pt>
                <c:pt idx="253">
                  <c:v>40129</c:v>
                </c:pt>
                <c:pt idx="254">
                  <c:v>40130</c:v>
                </c:pt>
                <c:pt idx="255">
                  <c:v>40133</c:v>
                </c:pt>
                <c:pt idx="256">
                  <c:v>40134</c:v>
                </c:pt>
                <c:pt idx="257">
                  <c:v>40135</c:v>
                </c:pt>
                <c:pt idx="258">
                  <c:v>40136</c:v>
                </c:pt>
                <c:pt idx="259">
                  <c:v>40137</c:v>
                </c:pt>
                <c:pt idx="260">
                  <c:v>40140</c:v>
                </c:pt>
                <c:pt idx="261">
                  <c:v>40141</c:v>
                </c:pt>
                <c:pt idx="262">
                  <c:v>40142</c:v>
                </c:pt>
                <c:pt idx="263">
                  <c:v>40143</c:v>
                </c:pt>
                <c:pt idx="264">
                  <c:v>40144</c:v>
                </c:pt>
                <c:pt idx="265">
                  <c:v>40147</c:v>
                </c:pt>
                <c:pt idx="266">
                  <c:v>40148</c:v>
                </c:pt>
                <c:pt idx="267">
                  <c:v>40149</c:v>
                </c:pt>
                <c:pt idx="268">
                  <c:v>40150</c:v>
                </c:pt>
                <c:pt idx="269">
                  <c:v>40151</c:v>
                </c:pt>
                <c:pt idx="270">
                  <c:v>40154</c:v>
                </c:pt>
                <c:pt idx="271">
                  <c:v>40155</c:v>
                </c:pt>
                <c:pt idx="272">
                  <c:v>40156</c:v>
                </c:pt>
                <c:pt idx="273">
                  <c:v>40157</c:v>
                </c:pt>
                <c:pt idx="274">
                  <c:v>40158</c:v>
                </c:pt>
                <c:pt idx="275">
                  <c:v>40161</c:v>
                </c:pt>
                <c:pt idx="276">
                  <c:v>40162</c:v>
                </c:pt>
                <c:pt idx="277">
                  <c:v>40163</c:v>
                </c:pt>
                <c:pt idx="278">
                  <c:v>40164</c:v>
                </c:pt>
                <c:pt idx="279">
                  <c:v>40165</c:v>
                </c:pt>
                <c:pt idx="280">
                  <c:v>40168</c:v>
                </c:pt>
                <c:pt idx="281">
                  <c:v>40169</c:v>
                </c:pt>
                <c:pt idx="282">
                  <c:v>40170</c:v>
                </c:pt>
                <c:pt idx="283">
                  <c:v>40171</c:v>
                </c:pt>
                <c:pt idx="284">
                  <c:v>40175</c:v>
                </c:pt>
                <c:pt idx="285">
                  <c:v>40176</c:v>
                </c:pt>
                <c:pt idx="286">
                  <c:v>40177</c:v>
                </c:pt>
                <c:pt idx="287">
                  <c:v>40178</c:v>
                </c:pt>
                <c:pt idx="288">
                  <c:v>40182</c:v>
                </c:pt>
                <c:pt idx="289">
                  <c:v>40183</c:v>
                </c:pt>
                <c:pt idx="290">
                  <c:v>40184</c:v>
                </c:pt>
                <c:pt idx="291">
                  <c:v>40185</c:v>
                </c:pt>
                <c:pt idx="292">
                  <c:v>40186</c:v>
                </c:pt>
                <c:pt idx="293">
                  <c:v>40189</c:v>
                </c:pt>
                <c:pt idx="294">
                  <c:v>40190</c:v>
                </c:pt>
                <c:pt idx="295">
                  <c:v>40191</c:v>
                </c:pt>
                <c:pt idx="296">
                  <c:v>40192</c:v>
                </c:pt>
                <c:pt idx="297">
                  <c:v>40193</c:v>
                </c:pt>
                <c:pt idx="298">
                  <c:v>40196</c:v>
                </c:pt>
                <c:pt idx="299">
                  <c:v>40197</c:v>
                </c:pt>
                <c:pt idx="300">
                  <c:v>40198</c:v>
                </c:pt>
                <c:pt idx="301">
                  <c:v>40199</c:v>
                </c:pt>
                <c:pt idx="302">
                  <c:v>40200</c:v>
                </c:pt>
                <c:pt idx="303">
                  <c:v>40203</c:v>
                </c:pt>
                <c:pt idx="304">
                  <c:v>40204</c:v>
                </c:pt>
                <c:pt idx="305">
                  <c:v>40205</c:v>
                </c:pt>
                <c:pt idx="306">
                  <c:v>40206</c:v>
                </c:pt>
                <c:pt idx="307">
                  <c:v>40207</c:v>
                </c:pt>
                <c:pt idx="308">
                  <c:v>40210</c:v>
                </c:pt>
                <c:pt idx="309">
                  <c:v>40211</c:v>
                </c:pt>
                <c:pt idx="310">
                  <c:v>40212</c:v>
                </c:pt>
                <c:pt idx="311">
                  <c:v>40213</c:v>
                </c:pt>
                <c:pt idx="312">
                  <c:v>40214</c:v>
                </c:pt>
                <c:pt idx="313">
                  <c:v>40217</c:v>
                </c:pt>
                <c:pt idx="314">
                  <c:v>40218</c:v>
                </c:pt>
                <c:pt idx="315">
                  <c:v>40219</c:v>
                </c:pt>
                <c:pt idx="316">
                  <c:v>40220</c:v>
                </c:pt>
                <c:pt idx="317">
                  <c:v>40221</c:v>
                </c:pt>
                <c:pt idx="318">
                  <c:v>40224</c:v>
                </c:pt>
                <c:pt idx="319">
                  <c:v>40225</c:v>
                </c:pt>
                <c:pt idx="320">
                  <c:v>40226</c:v>
                </c:pt>
                <c:pt idx="321">
                  <c:v>40227</c:v>
                </c:pt>
                <c:pt idx="322">
                  <c:v>40228</c:v>
                </c:pt>
                <c:pt idx="323">
                  <c:v>40231</c:v>
                </c:pt>
                <c:pt idx="324">
                  <c:v>40232</c:v>
                </c:pt>
                <c:pt idx="325">
                  <c:v>40233</c:v>
                </c:pt>
                <c:pt idx="326">
                  <c:v>40234</c:v>
                </c:pt>
                <c:pt idx="327">
                  <c:v>40235</c:v>
                </c:pt>
                <c:pt idx="328">
                  <c:v>40238</c:v>
                </c:pt>
                <c:pt idx="329">
                  <c:v>40239</c:v>
                </c:pt>
                <c:pt idx="330">
                  <c:v>40240</c:v>
                </c:pt>
                <c:pt idx="331">
                  <c:v>40241</c:v>
                </c:pt>
                <c:pt idx="332">
                  <c:v>40242</c:v>
                </c:pt>
                <c:pt idx="333">
                  <c:v>40245</c:v>
                </c:pt>
                <c:pt idx="334">
                  <c:v>40246</c:v>
                </c:pt>
                <c:pt idx="335">
                  <c:v>40247</c:v>
                </c:pt>
                <c:pt idx="336">
                  <c:v>40248</c:v>
                </c:pt>
                <c:pt idx="337">
                  <c:v>40249</c:v>
                </c:pt>
                <c:pt idx="338">
                  <c:v>40252</c:v>
                </c:pt>
                <c:pt idx="339">
                  <c:v>40253</c:v>
                </c:pt>
                <c:pt idx="340">
                  <c:v>40254</c:v>
                </c:pt>
                <c:pt idx="341">
                  <c:v>40255</c:v>
                </c:pt>
                <c:pt idx="342">
                  <c:v>40256</c:v>
                </c:pt>
                <c:pt idx="343">
                  <c:v>40259</c:v>
                </c:pt>
                <c:pt idx="344">
                  <c:v>40260</c:v>
                </c:pt>
                <c:pt idx="345">
                  <c:v>40261</c:v>
                </c:pt>
                <c:pt idx="346">
                  <c:v>40262</c:v>
                </c:pt>
                <c:pt idx="347">
                  <c:v>40263</c:v>
                </c:pt>
                <c:pt idx="348">
                  <c:v>40266</c:v>
                </c:pt>
                <c:pt idx="349">
                  <c:v>40267</c:v>
                </c:pt>
                <c:pt idx="350">
                  <c:v>40268</c:v>
                </c:pt>
                <c:pt idx="351">
                  <c:v>40269</c:v>
                </c:pt>
                <c:pt idx="352">
                  <c:v>40274</c:v>
                </c:pt>
                <c:pt idx="353">
                  <c:v>40275</c:v>
                </c:pt>
                <c:pt idx="354">
                  <c:v>40276</c:v>
                </c:pt>
                <c:pt idx="355">
                  <c:v>40277</c:v>
                </c:pt>
                <c:pt idx="356">
                  <c:v>40280</c:v>
                </c:pt>
                <c:pt idx="357">
                  <c:v>40281</c:v>
                </c:pt>
                <c:pt idx="358">
                  <c:v>40282</c:v>
                </c:pt>
                <c:pt idx="359">
                  <c:v>40283</c:v>
                </c:pt>
                <c:pt idx="360">
                  <c:v>40284</c:v>
                </c:pt>
                <c:pt idx="361">
                  <c:v>40287</c:v>
                </c:pt>
                <c:pt idx="362">
                  <c:v>40288</c:v>
                </c:pt>
                <c:pt idx="363">
                  <c:v>40289</c:v>
                </c:pt>
                <c:pt idx="364">
                  <c:v>40290</c:v>
                </c:pt>
                <c:pt idx="365">
                  <c:v>40291</c:v>
                </c:pt>
                <c:pt idx="366">
                  <c:v>40294</c:v>
                </c:pt>
                <c:pt idx="367">
                  <c:v>40295</c:v>
                </c:pt>
                <c:pt idx="368">
                  <c:v>40296</c:v>
                </c:pt>
                <c:pt idx="369">
                  <c:v>40297</c:v>
                </c:pt>
                <c:pt idx="370">
                  <c:v>40298</c:v>
                </c:pt>
                <c:pt idx="371">
                  <c:v>40301</c:v>
                </c:pt>
                <c:pt idx="372">
                  <c:v>40302</c:v>
                </c:pt>
                <c:pt idx="373">
                  <c:v>40303</c:v>
                </c:pt>
                <c:pt idx="374">
                  <c:v>40304</c:v>
                </c:pt>
                <c:pt idx="375">
                  <c:v>40305</c:v>
                </c:pt>
                <c:pt idx="376">
                  <c:v>40308</c:v>
                </c:pt>
                <c:pt idx="377">
                  <c:v>40309</c:v>
                </c:pt>
                <c:pt idx="378">
                  <c:v>40310</c:v>
                </c:pt>
                <c:pt idx="379">
                  <c:v>40311</c:v>
                </c:pt>
                <c:pt idx="380">
                  <c:v>40312</c:v>
                </c:pt>
                <c:pt idx="381">
                  <c:v>40315</c:v>
                </c:pt>
                <c:pt idx="382">
                  <c:v>40316</c:v>
                </c:pt>
                <c:pt idx="383">
                  <c:v>40317</c:v>
                </c:pt>
                <c:pt idx="384">
                  <c:v>40318</c:v>
                </c:pt>
                <c:pt idx="385">
                  <c:v>40319</c:v>
                </c:pt>
                <c:pt idx="386">
                  <c:v>40322</c:v>
                </c:pt>
                <c:pt idx="387">
                  <c:v>40323</c:v>
                </c:pt>
                <c:pt idx="388">
                  <c:v>40324</c:v>
                </c:pt>
                <c:pt idx="389">
                  <c:v>40325</c:v>
                </c:pt>
                <c:pt idx="390">
                  <c:v>40326</c:v>
                </c:pt>
                <c:pt idx="391">
                  <c:v>40329</c:v>
                </c:pt>
                <c:pt idx="392">
                  <c:v>40330</c:v>
                </c:pt>
                <c:pt idx="393">
                  <c:v>40331</c:v>
                </c:pt>
                <c:pt idx="394">
                  <c:v>40332</c:v>
                </c:pt>
                <c:pt idx="395">
                  <c:v>40333</c:v>
                </c:pt>
                <c:pt idx="396">
                  <c:v>40336</c:v>
                </c:pt>
                <c:pt idx="397">
                  <c:v>40337</c:v>
                </c:pt>
                <c:pt idx="398">
                  <c:v>40338</c:v>
                </c:pt>
                <c:pt idx="399">
                  <c:v>40339</c:v>
                </c:pt>
                <c:pt idx="400">
                  <c:v>40340</c:v>
                </c:pt>
                <c:pt idx="401">
                  <c:v>40343</c:v>
                </c:pt>
                <c:pt idx="402">
                  <c:v>40344</c:v>
                </c:pt>
                <c:pt idx="403">
                  <c:v>40345</c:v>
                </c:pt>
                <c:pt idx="404">
                  <c:v>40346</c:v>
                </c:pt>
                <c:pt idx="405">
                  <c:v>40347</c:v>
                </c:pt>
                <c:pt idx="406">
                  <c:v>40350</c:v>
                </c:pt>
                <c:pt idx="407">
                  <c:v>40351</c:v>
                </c:pt>
                <c:pt idx="408">
                  <c:v>40352</c:v>
                </c:pt>
                <c:pt idx="409">
                  <c:v>40353</c:v>
                </c:pt>
                <c:pt idx="410">
                  <c:v>40354</c:v>
                </c:pt>
                <c:pt idx="411">
                  <c:v>40357</c:v>
                </c:pt>
                <c:pt idx="412">
                  <c:v>40358</c:v>
                </c:pt>
                <c:pt idx="413">
                  <c:v>40359</c:v>
                </c:pt>
                <c:pt idx="414">
                  <c:v>40360</c:v>
                </c:pt>
                <c:pt idx="415">
                  <c:v>40361</c:v>
                </c:pt>
                <c:pt idx="416">
                  <c:v>40364</c:v>
                </c:pt>
                <c:pt idx="417">
                  <c:v>40365</c:v>
                </c:pt>
                <c:pt idx="418">
                  <c:v>40366</c:v>
                </c:pt>
                <c:pt idx="419">
                  <c:v>40367</c:v>
                </c:pt>
                <c:pt idx="420">
                  <c:v>40368</c:v>
                </c:pt>
                <c:pt idx="421">
                  <c:v>40371</c:v>
                </c:pt>
                <c:pt idx="422">
                  <c:v>40372</c:v>
                </c:pt>
                <c:pt idx="423">
                  <c:v>40373</c:v>
                </c:pt>
                <c:pt idx="424">
                  <c:v>40374</c:v>
                </c:pt>
                <c:pt idx="425">
                  <c:v>40375</c:v>
                </c:pt>
                <c:pt idx="426">
                  <c:v>40378</c:v>
                </c:pt>
                <c:pt idx="427">
                  <c:v>40379</c:v>
                </c:pt>
                <c:pt idx="428">
                  <c:v>40380</c:v>
                </c:pt>
                <c:pt idx="429">
                  <c:v>40381</c:v>
                </c:pt>
                <c:pt idx="430">
                  <c:v>40382</c:v>
                </c:pt>
                <c:pt idx="431">
                  <c:v>40385</c:v>
                </c:pt>
                <c:pt idx="432">
                  <c:v>40386</c:v>
                </c:pt>
                <c:pt idx="433">
                  <c:v>40387</c:v>
                </c:pt>
                <c:pt idx="434">
                  <c:v>40388</c:v>
                </c:pt>
                <c:pt idx="435">
                  <c:v>40389</c:v>
                </c:pt>
                <c:pt idx="436">
                  <c:v>40392</c:v>
                </c:pt>
                <c:pt idx="437">
                  <c:v>40393</c:v>
                </c:pt>
                <c:pt idx="438">
                  <c:v>40394</c:v>
                </c:pt>
                <c:pt idx="439">
                  <c:v>40395</c:v>
                </c:pt>
                <c:pt idx="440">
                  <c:v>40396</c:v>
                </c:pt>
                <c:pt idx="441">
                  <c:v>40399</c:v>
                </c:pt>
                <c:pt idx="442">
                  <c:v>40400</c:v>
                </c:pt>
                <c:pt idx="443">
                  <c:v>40401</c:v>
                </c:pt>
                <c:pt idx="444">
                  <c:v>40402</c:v>
                </c:pt>
                <c:pt idx="445">
                  <c:v>40403</c:v>
                </c:pt>
                <c:pt idx="446">
                  <c:v>40406</c:v>
                </c:pt>
                <c:pt idx="447">
                  <c:v>40407</c:v>
                </c:pt>
                <c:pt idx="448">
                  <c:v>40408</c:v>
                </c:pt>
                <c:pt idx="449">
                  <c:v>40409</c:v>
                </c:pt>
                <c:pt idx="450">
                  <c:v>40410</c:v>
                </c:pt>
                <c:pt idx="451">
                  <c:v>40413</c:v>
                </c:pt>
                <c:pt idx="452">
                  <c:v>40414</c:v>
                </c:pt>
                <c:pt idx="453">
                  <c:v>40415</c:v>
                </c:pt>
                <c:pt idx="454">
                  <c:v>40416</c:v>
                </c:pt>
                <c:pt idx="455">
                  <c:v>40417</c:v>
                </c:pt>
                <c:pt idx="456">
                  <c:v>40420</c:v>
                </c:pt>
                <c:pt idx="457">
                  <c:v>40421</c:v>
                </c:pt>
                <c:pt idx="458">
                  <c:v>40422</c:v>
                </c:pt>
                <c:pt idx="459">
                  <c:v>40423</c:v>
                </c:pt>
                <c:pt idx="460">
                  <c:v>40424</c:v>
                </c:pt>
                <c:pt idx="461">
                  <c:v>40427</c:v>
                </c:pt>
                <c:pt idx="462">
                  <c:v>40428</c:v>
                </c:pt>
                <c:pt idx="463">
                  <c:v>40429</c:v>
                </c:pt>
                <c:pt idx="464">
                  <c:v>40430</c:v>
                </c:pt>
                <c:pt idx="465">
                  <c:v>40431</c:v>
                </c:pt>
                <c:pt idx="466">
                  <c:v>40434</c:v>
                </c:pt>
                <c:pt idx="467">
                  <c:v>40435</c:v>
                </c:pt>
                <c:pt idx="468">
                  <c:v>40436</c:v>
                </c:pt>
                <c:pt idx="469">
                  <c:v>40437</c:v>
                </c:pt>
                <c:pt idx="470">
                  <c:v>40438</c:v>
                </c:pt>
                <c:pt idx="471">
                  <c:v>40441</c:v>
                </c:pt>
                <c:pt idx="472">
                  <c:v>40442</c:v>
                </c:pt>
                <c:pt idx="473">
                  <c:v>40443</c:v>
                </c:pt>
                <c:pt idx="474">
                  <c:v>40444</c:v>
                </c:pt>
                <c:pt idx="475">
                  <c:v>40445</c:v>
                </c:pt>
                <c:pt idx="476">
                  <c:v>40448</c:v>
                </c:pt>
                <c:pt idx="477">
                  <c:v>40449</c:v>
                </c:pt>
                <c:pt idx="478">
                  <c:v>40450</c:v>
                </c:pt>
                <c:pt idx="479">
                  <c:v>40451</c:v>
                </c:pt>
                <c:pt idx="480">
                  <c:v>40452</c:v>
                </c:pt>
                <c:pt idx="481">
                  <c:v>40455</c:v>
                </c:pt>
                <c:pt idx="482">
                  <c:v>40456</c:v>
                </c:pt>
                <c:pt idx="483">
                  <c:v>40457</c:v>
                </c:pt>
                <c:pt idx="484">
                  <c:v>40458</c:v>
                </c:pt>
                <c:pt idx="485">
                  <c:v>40459</c:v>
                </c:pt>
                <c:pt idx="486">
                  <c:v>40462</c:v>
                </c:pt>
                <c:pt idx="487">
                  <c:v>40463</c:v>
                </c:pt>
                <c:pt idx="488">
                  <c:v>40464</c:v>
                </c:pt>
                <c:pt idx="489">
                  <c:v>40465</c:v>
                </c:pt>
                <c:pt idx="490">
                  <c:v>40466</c:v>
                </c:pt>
                <c:pt idx="491">
                  <c:v>40469</c:v>
                </c:pt>
                <c:pt idx="492">
                  <c:v>40470</c:v>
                </c:pt>
                <c:pt idx="493">
                  <c:v>40471</c:v>
                </c:pt>
                <c:pt idx="494">
                  <c:v>40472</c:v>
                </c:pt>
                <c:pt idx="495">
                  <c:v>40473</c:v>
                </c:pt>
                <c:pt idx="496">
                  <c:v>40476</c:v>
                </c:pt>
                <c:pt idx="497">
                  <c:v>40477</c:v>
                </c:pt>
                <c:pt idx="498">
                  <c:v>40478</c:v>
                </c:pt>
                <c:pt idx="499">
                  <c:v>40479</c:v>
                </c:pt>
                <c:pt idx="500">
                  <c:v>40480</c:v>
                </c:pt>
                <c:pt idx="501">
                  <c:v>40483</c:v>
                </c:pt>
                <c:pt idx="502">
                  <c:v>40484</c:v>
                </c:pt>
                <c:pt idx="503">
                  <c:v>40485</c:v>
                </c:pt>
                <c:pt idx="504">
                  <c:v>40486</c:v>
                </c:pt>
                <c:pt idx="505">
                  <c:v>40487</c:v>
                </c:pt>
                <c:pt idx="506">
                  <c:v>40490</c:v>
                </c:pt>
                <c:pt idx="507">
                  <c:v>40491</c:v>
                </c:pt>
                <c:pt idx="508">
                  <c:v>40492</c:v>
                </c:pt>
                <c:pt idx="509">
                  <c:v>40493</c:v>
                </c:pt>
                <c:pt idx="510">
                  <c:v>40494</c:v>
                </c:pt>
                <c:pt idx="511">
                  <c:v>40497</c:v>
                </c:pt>
                <c:pt idx="512">
                  <c:v>40498</c:v>
                </c:pt>
                <c:pt idx="513">
                  <c:v>40499</c:v>
                </c:pt>
                <c:pt idx="514">
                  <c:v>40500</c:v>
                </c:pt>
                <c:pt idx="515">
                  <c:v>40501</c:v>
                </c:pt>
                <c:pt idx="516">
                  <c:v>40504</c:v>
                </c:pt>
                <c:pt idx="517">
                  <c:v>40505</c:v>
                </c:pt>
                <c:pt idx="518">
                  <c:v>40506</c:v>
                </c:pt>
                <c:pt idx="519">
                  <c:v>40507</c:v>
                </c:pt>
                <c:pt idx="520">
                  <c:v>40508</c:v>
                </c:pt>
                <c:pt idx="521">
                  <c:v>40511</c:v>
                </c:pt>
                <c:pt idx="522">
                  <c:v>40512</c:v>
                </c:pt>
                <c:pt idx="523">
                  <c:v>40513</c:v>
                </c:pt>
                <c:pt idx="524">
                  <c:v>40514</c:v>
                </c:pt>
                <c:pt idx="525">
                  <c:v>40515</c:v>
                </c:pt>
                <c:pt idx="526">
                  <c:v>40518</c:v>
                </c:pt>
                <c:pt idx="527">
                  <c:v>40519</c:v>
                </c:pt>
                <c:pt idx="528">
                  <c:v>40520</c:v>
                </c:pt>
                <c:pt idx="529">
                  <c:v>40521</c:v>
                </c:pt>
                <c:pt idx="530">
                  <c:v>40522</c:v>
                </c:pt>
                <c:pt idx="531">
                  <c:v>40525</c:v>
                </c:pt>
                <c:pt idx="532">
                  <c:v>40526</c:v>
                </c:pt>
                <c:pt idx="533">
                  <c:v>40527</c:v>
                </c:pt>
                <c:pt idx="534">
                  <c:v>40528</c:v>
                </c:pt>
                <c:pt idx="535">
                  <c:v>40529</c:v>
                </c:pt>
                <c:pt idx="536">
                  <c:v>40532</c:v>
                </c:pt>
                <c:pt idx="537">
                  <c:v>40533</c:v>
                </c:pt>
                <c:pt idx="538">
                  <c:v>40534</c:v>
                </c:pt>
                <c:pt idx="539">
                  <c:v>40535</c:v>
                </c:pt>
                <c:pt idx="540">
                  <c:v>40536</c:v>
                </c:pt>
                <c:pt idx="541">
                  <c:v>40539</c:v>
                </c:pt>
                <c:pt idx="542">
                  <c:v>40540</c:v>
                </c:pt>
                <c:pt idx="543">
                  <c:v>40541</c:v>
                </c:pt>
                <c:pt idx="544">
                  <c:v>40542</c:v>
                </c:pt>
                <c:pt idx="545">
                  <c:v>40543</c:v>
                </c:pt>
                <c:pt idx="546">
                  <c:v>40546</c:v>
                </c:pt>
                <c:pt idx="547">
                  <c:v>40547</c:v>
                </c:pt>
                <c:pt idx="548">
                  <c:v>40548</c:v>
                </c:pt>
                <c:pt idx="549">
                  <c:v>40549</c:v>
                </c:pt>
                <c:pt idx="550">
                  <c:v>40550</c:v>
                </c:pt>
                <c:pt idx="551">
                  <c:v>40553</c:v>
                </c:pt>
                <c:pt idx="552">
                  <c:v>40554</c:v>
                </c:pt>
                <c:pt idx="553">
                  <c:v>40555</c:v>
                </c:pt>
                <c:pt idx="554">
                  <c:v>40556</c:v>
                </c:pt>
                <c:pt idx="555">
                  <c:v>40557</c:v>
                </c:pt>
                <c:pt idx="556">
                  <c:v>40560</c:v>
                </c:pt>
                <c:pt idx="557">
                  <c:v>40561</c:v>
                </c:pt>
                <c:pt idx="558">
                  <c:v>40562</c:v>
                </c:pt>
                <c:pt idx="559">
                  <c:v>40563</c:v>
                </c:pt>
                <c:pt idx="560">
                  <c:v>40564</c:v>
                </c:pt>
                <c:pt idx="561">
                  <c:v>40567</c:v>
                </c:pt>
                <c:pt idx="562">
                  <c:v>40568</c:v>
                </c:pt>
                <c:pt idx="563">
                  <c:v>40569</c:v>
                </c:pt>
                <c:pt idx="564">
                  <c:v>40570</c:v>
                </c:pt>
                <c:pt idx="565">
                  <c:v>40571</c:v>
                </c:pt>
                <c:pt idx="566">
                  <c:v>40574</c:v>
                </c:pt>
                <c:pt idx="567">
                  <c:v>40575</c:v>
                </c:pt>
                <c:pt idx="568">
                  <c:v>40576</c:v>
                </c:pt>
                <c:pt idx="569">
                  <c:v>40577</c:v>
                </c:pt>
                <c:pt idx="570">
                  <c:v>40578</c:v>
                </c:pt>
                <c:pt idx="571">
                  <c:v>40581</c:v>
                </c:pt>
                <c:pt idx="572">
                  <c:v>40582</c:v>
                </c:pt>
                <c:pt idx="573">
                  <c:v>40583</c:v>
                </c:pt>
                <c:pt idx="574">
                  <c:v>40584</c:v>
                </c:pt>
                <c:pt idx="575">
                  <c:v>40585</c:v>
                </c:pt>
                <c:pt idx="576">
                  <c:v>40588</c:v>
                </c:pt>
                <c:pt idx="577">
                  <c:v>40589</c:v>
                </c:pt>
                <c:pt idx="578">
                  <c:v>40590</c:v>
                </c:pt>
                <c:pt idx="579">
                  <c:v>40591</c:v>
                </c:pt>
                <c:pt idx="580">
                  <c:v>40592</c:v>
                </c:pt>
                <c:pt idx="581">
                  <c:v>40595</c:v>
                </c:pt>
                <c:pt idx="582">
                  <c:v>40596</c:v>
                </c:pt>
                <c:pt idx="583">
                  <c:v>40597</c:v>
                </c:pt>
                <c:pt idx="584">
                  <c:v>40598</c:v>
                </c:pt>
                <c:pt idx="585">
                  <c:v>40599</c:v>
                </c:pt>
                <c:pt idx="586">
                  <c:v>40602</c:v>
                </c:pt>
                <c:pt idx="587">
                  <c:v>40603</c:v>
                </c:pt>
                <c:pt idx="588">
                  <c:v>40604</c:v>
                </c:pt>
                <c:pt idx="589">
                  <c:v>40605</c:v>
                </c:pt>
                <c:pt idx="590">
                  <c:v>40606</c:v>
                </c:pt>
                <c:pt idx="591">
                  <c:v>40609</c:v>
                </c:pt>
                <c:pt idx="592">
                  <c:v>40610</c:v>
                </c:pt>
                <c:pt idx="593">
                  <c:v>40611</c:v>
                </c:pt>
                <c:pt idx="594">
                  <c:v>40612</c:v>
                </c:pt>
                <c:pt idx="595">
                  <c:v>40613</c:v>
                </c:pt>
                <c:pt idx="596">
                  <c:v>40616</c:v>
                </c:pt>
                <c:pt idx="597">
                  <c:v>40617</c:v>
                </c:pt>
                <c:pt idx="598">
                  <c:v>40618</c:v>
                </c:pt>
                <c:pt idx="599">
                  <c:v>40619</c:v>
                </c:pt>
                <c:pt idx="600">
                  <c:v>40620</c:v>
                </c:pt>
                <c:pt idx="601">
                  <c:v>40623</c:v>
                </c:pt>
                <c:pt idx="602">
                  <c:v>40624</c:v>
                </c:pt>
                <c:pt idx="603">
                  <c:v>40625</c:v>
                </c:pt>
                <c:pt idx="604">
                  <c:v>40626</c:v>
                </c:pt>
                <c:pt idx="605">
                  <c:v>40627</c:v>
                </c:pt>
                <c:pt idx="606">
                  <c:v>40630</c:v>
                </c:pt>
                <c:pt idx="607">
                  <c:v>40631</c:v>
                </c:pt>
                <c:pt idx="608">
                  <c:v>40632</c:v>
                </c:pt>
                <c:pt idx="609">
                  <c:v>40633</c:v>
                </c:pt>
                <c:pt idx="610">
                  <c:v>40634</c:v>
                </c:pt>
                <c:pt idx="611">
                  <c:v>40637</c:v>
                </c:pt>
                <c:pt idx="612">
                  <c:v>40638</c:v>
                </c:pt>
                <c:pt idx="613">
                  <c:v>40639</c:v>
                </c:pt>
                <c:pt idx="614">
                  <c:v>40640</c:v>
                </c:pt>
                <c:pt idx="615">
                  <c:v>40641</c:v>
                </c:pt>
                <c:pt idx="616">
                  <c:v>40644</c:v>
                </c:pt>
                <c:pt idx="617">
                  <c:v>40645</c:v>
                </c:pt>
                <c:pt idx="618">
                  <c:v>40646</c:v>
                </c:pt>
                <c:pt idx="619">
                  <c:v>40647</c:v>
                </c:pt>
                <c:pt idx="620">
                  <c:v>40648</c:v>
                </c:pt>
                <c:pt idx="621">
                  <c:v>40651</c:v>
                </c:pt>
                <c:pt idx="622">
                  <c:v>40652</c:v>
                </c:pt>
                <c:pt idx="623">
                  <c:v>40653</c:v>
                </c:pt>
                <c:pt idx="624">
                  <c:v>40654</c:v>
                </c:pt>
                <c:pt idx="625">
                  <c:v>40659</c:v>
                </c:pt>
                <c:pt idx="626">
                  <c:v>40660</c:v>
                </c:pt>
                <c:pt idx="627">
                  <c:v>40661</c:v>
                </c:pt>
                <c:pt idx="628">
                  <c:v>40662</c:v>
                </c:pt>
                <c:pt idx="629">
                  <c:v>40665</c:v>
                </c:pt>
                <c:pt idx="630">
                  <c:v>40666</c:v>
                </c:pt>
                <c:pt idx="631">
                  <c:v>40667</c:v>
                </c:pt>
                <c:pt idx="632">
                  <c:v>40668</c:v>
                </c:pt>
                <c:pt idx="633">
                  <c:v>40669</c:v>
                </c:pt>
                <c:pt idx="634">
                  <c:v>40672</c:v>
                </c:pt>
                <c:pt idx="635">
                  <c:v>40673</c:v>
                </c:pt>
                <c:pt idx="636">
                  <c:v>40674</c:v>
                </c:pt>
                <c:pt idx="637">
                  <c:v>40675</c:v>
                </c:pt>
                <c:pt idx="638">
                  <c:v>40676</c:v>
                </c:pt>
                <c:pt idx="639">
                  <c:v>40679</c:v>
                </c:pt>
                <c:pt idx="640">
                  <c:v>40680</c:v>
                </c:pt>
                <c:pt idx="641">
                  <c:v>40681</c:v>
                </c:pt>
                <c:pt idx="642">
                  <c:v>40682</c:v>
                </c:pt>
                <c:pt idx="643">
                  <c:v>40683</c:v>
                </c:pt>
                <c:pt idx="644">
                  <c:v>40686</c:v>
                </c:pt>
                <c:pt idx="645">
                  <c:v>40687</c:v>
                </c:pt>
                <c:pt idx="646">
                  <c:v>40688</c:v>
                </c:pt>
                <c:pt idx="647">
                  <c:v>40689</c:v>
                </c:pt>
                <c:pt idx="648">
                  <c:v>40690</c:v>
                </c:pt>
                <c:pt idx="649">
                  <c:v>40693</c:v>
                </c:pt>
                <c:pt idx="650">
                  <c:v>40694</c:v>
                </c:pt>
                <c:pt idx="651">
                  <c:v>40695</c:v>
                </c:pt>
                <c:pt idx="652">
                  <c:v>40696</c:v>
                </c:pt>
                <c:pt idx="653">
                  <c:v>40697</c:v>
                </c:pt>
                <c:pt idx="654">
                  <c:v>40700</c:v>
                </c:pt>
                <c:pt idx="655">
                  <c:v>40701</c:v>
                </c:pt>
                <c:pt idx="656">
                  <c:v>40702</c:v>
                </c:pt>
                <c:pt idx="657">
                  <c:v>40703</c:v>
                </c:pt>
                <c:pt idx="658">
                  <c:v>40704</c:v>
                </c:pt>
                <c:pt idx="659">
                  <c:v>40707</c:v>
                </c:pt>
                <c:pt idx="660">
                  <c:v>40708</c:v>
                </c:pt>
                <c:pt idx="661">
                  <c:v>40709</c:v>
                </c:pt>
                <c:pt idx="662">
                  <c:v>40710</c:v>
                </c:pt>
                <c:pt idx="663">
                  <c:v>40711</c:v>
                </c:pt>
                <c:pt idx="664">
                  <c:v>40714</c:v>
                </c:pt>
                <c:pt idx="665">
                  <c:v>40715</c:v>
                </c:pt>
                <c:pt idx="666">
                  <c:v>40716</c:v>
                </c:pt>
                <c:pt idx="667">
                  <c:v>40717</c:v>
                </c:pt>
                <c:pt idx="668">
                  <c:v>40718</c:v>
                </c:pt>
                <c:pt idx="669">
                  <c:v>40721</c:v>
                </c:pt>
                <c:pt idx="670">
                  <c:v>40722</c:v>
                </c:pt>
                <c:pt idx="671">
                  <c:v>40723</c:v>
                </c:pt>
                <c:pt idx="672">
                  <c:v>40724</c:v>
                </c:pt>
                <c:pt idx="673">
                  <c:v>40725</c:v>
                </c:pt>
                <c:pt idx="674">
                  <c:v>40728</c:v>
                </c:pt>
                <c:pt idx="675">
                  <c:v>40729</c:v>
                </c:pt>
                <c:pt idx="676">
                  <c:v>40730</c:v>
                </c:pt>
                <c:pt idx="677">
                  <c:v>40731</c:v>
                </c:pt>
                <c:pt idx="678">
                  <c:v>40732</c:v>
                </c:pt>
                <c:pt idx="679">
                  <c:v>40735</c:v>
                </c:pt>
                <c:pt idx="680">
                  <c:v>40736</c:v>
                </c:pt>
                <c:pt idx="681">
                  <c:v>40737</c:v>
                </c:pt>
                <c:pt idx="682">
                  <c:v>40738</c:v>
                </c:pt>
                <c:pt idx="683">
                  <c:v>40739</c:v>
                </c:pt>
                <c:pt idx="684">
                  <c:v>40742</c:v>
                </c:pt>
                <c:pt idx="685">
                  <c:v>40743</c:v>
                </c:pt>
                <c:pt idx="686">
                  <c:v>40744</c:v>
                </c:pt>
                <c:pt idx="687">
                  <c:v>40745</c:v>
                </c:pt>
                <c:pt idx="688">
                  <c:v>40746</c:v>
                </c:pt>
                <c:pt idx="689">
                  <c:v>40749</c:v>
                </c:pt>
                <c:pt idx="690">
                  <c:v>40750</c:v>
                </c:pt>
                <c:pt idx="691">
                  <c:v>40751</c:v>
                </c:pt>
                <c:pt idx="692">
                  <c:v>40752</c:v>
                </c:pt>
                <c:pt idx="693">
                  <c:v>40753</c:v>
                </c:pt>
                <c:pt idx="694">
                  <c:v>40756</c:v>
                </c:pt>
                <c:pt idx="695">
                  <c:v>40757</c:v>
                </c:pt>
                <c:pt idx="696">
                  <c:v>40758</c:v>
                </c:pt>
                <c:pt idx="697">
                  <c:v>40759</c:v>
                </c:pt>
                <c:pt idx="698">
                  <c:v>40760</c:v>
                </c:pt>
                <c:pt idx="699">
                  <c:v>40763</c:v>
                </c:pt>
                <c:pt idx="700">
                  <c:v>40764</c:v>
                </c:pt>
                <c:pt idx="701">
                  <c:v>40765</c:v>
                </c:pt>
                <c:pt idx="702">
                  <c:v>40766</c:v>
                </c:pt>
                <c:pt idx="703">
                  <c:v>40767</c:v>
                </c:pt>
                <c:pt idx="704">
                  <c:v>40770</c:v>
                </c:pt>
                <c:pt idx="705">
                  <c:v>40771</c:v>
                </c:pt>
                <c:pt idx="706">
                  <c:v>40772</c:v>
                </c:pt>
                <c:pt idx="707">
                  <c:v>40773</c:v>
                </c:pt>
                <c:pt idx="708">
                  <c:v>40774</c:v>
                </c:pt>
                <c:pt idx="709">
                  <c:v>40777</c:v>
                </c:pt>
                <c:pt idx="710">
                  <c:v>40778</c:v>
                </c:pt>
                <c:pt idx="711">
                  <c:v>40779</c:v>
                </c:pt>
                <c:pt idx="712">
                  <c:v>40780</c:v>
                </c:pt>
                <c:pt idx="713">
                  <c:v>40781</c:v>
                </c:pt>
                <c:pt idx="714">
                  <c:v>40784</c:v>
                </c:pt>
                <c:pt idx="715">
                  <c:v>40785</c:v>
                </c:pt>
                <c:pt idx="716">
                  <c:v>40786</c:v>
                </c:pt>
                <c:pt idx="717">
                  <c:v>40787</c:v>
                </c:pt>
                <c:pt idx="718">
                  <c:v>40788</c:v>
                </c:pt>
                <c:pt idx="719">
                  <c:v>40791</c:v>
                </c:pt>
                <c:pt idx="720">
                  <c:v>40792</c:v>
                </c:pt>
                <c:pt idx="721">
                  <c:v>40793</c:v>
                </c:pt>
                <c:pt idx="722">
                  <c:v>40794</c:v>
                </c:pt>
                <c:pt idx="723">
                  <c:v>40795</c:v>
                </c:pt>
                <c:pt idx="724">
                  <c:v>40798</c:v>
                </c:pt>
                <c:pt idx="725">
                  <c:v>40799</c:v>
                </c:pt>
                <c:pt idx="726">
                  <c:v>40800</c:v>
                </c:pt>
                <c:pt idx="727">
                  <c:v>40801</c:v>
                </c:pt>
                <c:pt idx="728">
                  <c:v>40802</c:v>
                </c:pt>
                <c:pt idx="729">
                  <c:v>40805</c:v>
                </c:pt>
                <c:pt idx="730">
                  <c:v>40806</c:v>
                </c:pt>
                <c:pt idx="731">
                  <c:v>40807</c:v>
                </c:pt>
                <c:pt idx="732">
                  <c:v>40808</c:v>
                </c:pt>
                <c:pt idx="733">
                  <c:v>40809</c:v>
                </c:pt>
                <c:pt idx="734">
                  <c:v>40812</c:v>
                </c:pt>
                <c:pt idx="735">
                  <c:v>40813</c:v>
                </c:pt>
                <c:pt idx="736">
                  <c:v>40814</c:v>
                </c:pt>
                <c:pt idx="737">
                  <c:v>40815</c:v>
                </c:pt>
                <c:pt idx="738">
                  <c:v>40816</c:v>
                </c:pt>
                <c:pt idx="739">
                  <c:v>40819</c:v>
                </c:pt>
                <c:pt idx="740">
                  <c:v>40820</c:v>
                </c:pt>
                <c:pt idx="741">
                  <c:v>40821</c:v>
                </c:pt>
                <c:pt idx="742">
                  <c:v>40822</c:v>
                </c:pt>
                <c:pt idx="743">
                  <c:v>40823</c:v>
                </c:pt>
                <c:pt idx="744">
                  <c:v>40826</c:v>
                </c:pt>
                <c:pt idx="745">
                  <c:v>40827</c:v>
                </c:pt>
                <c:pt idx="746">
                  <c:v>40828</c:v>
                </c:pt>
                <c:pt idx="747">
                  <c:v>40829</c:v>
                </c:pt>
                <c:pt idx="748">
                  <c:v>40830</c:v>
                </c:pt>
                <c:pt idx="749">
                  <c:v>40833</c:v>
                </c:pt>
                <c:pt idx="750">
                  <c:v>40834</c:v>
                </c:pt>
                <c:pt idx="751">
                  <c:v>40835</c:v>
                </c:pt>
                <c:pt idx="752">
                  <c:v>40836</c:v>
                </c:pt>
                <c:pt idx="753">
                  <c:v>40837</c:v>
                </c:pt>
                <c:pt idx="754">
                  <c:v>40840</c:v>
                </c:pt>
                <c:pt idx="755">
                  <c:v>40841</c:v>
                </c:pt>
                <c:pt idx="756">
                  <c:v>40842</c:v>
                </c:pt>
                <c:pt idx="757">
                  <c:v>40843</c:v>
                </c:pt>
                <c:pt idx="758">
                  <c:v>40844</c:v>
                </c:pt>
                <c:pt idx="759">
                  <c:v>40847</c:v>
                </c:pt>
                <c:pt idx="760">
                  <c:v>40848</c:v>
                </c:pt>
                <c:pt idx="761">
                  <c:v>40849</c:v>
                </c:pt>
                <c:pt idx="762">
                  <c:v>40850</c:v>
                </c:pt>
                <c:pt idx="763">
                  <c:v>40851</c:v>
                </c:pt>
                <c:pt idx="764">
                  <c:v>40854</c:v>
                </c:pt>
                <c:pt idx="765">
                  <c:v>40855</c:v>
                </c:pt>
                <c:pt idx="766">
                  <c:v>40856</c:v>
                </c:pt>
                <c:pt idx="767">
                  <c:v>40857</c:v>
                </c:pt>
                <c:pt idx="768">
                  <c:v>40858</c:v>
                </c:pt>
                <c:pt idx="769">
                  <c:v>40861</c:v>
                </c:pt>
                <c:pt idx="770">
                  <c:v>40862</c:v>
                </c:pt>
                <c:pt idx="771">
                  <c:v>40863</c:v>
                </c:pt>
                <c:pt idx="772">
                  <c:v>40864</c:v>
                </c:pt>
                <c:pt idx="773">
                  <c:v>40865</c:v>
                </c:pt>
                <c:pt idx="774">
                  <c:v>40868</c:v>
                </c:pt>
                <c:pt idx="775">
                  <c:v>40869</c:v>
                </c:pt>
                <c:pt idx="776">
                  <c:v>40870</c:v>
                </c:pt>
                <c:pt idx="777">
                  <c:v>40871</c:v>
                </c:pt>
                <c:pt idx="778">
                  <c:v>40872</c:v>
                </c:pt>
                <c:pt idx="779">
                  <c:v>40875</c:v>
                </c:pt>
                <c:pt idx="780">
                  <c:v>40876</c:v>
                </c:pt>
                <c:pt idx="781">
                  <c:v>40877</c:v>
                </c:pt>
                <c:pt idx="782">
                  <c:v>40878</c:v>
                </c:pt>
                <c:pt idx="783">
                  <c:v>40879</c:v>
                </c:pt>
                <c:pt idx="784">
                  <c:v>40882</c:v>
                </c:pt>
                <c:pt idx="785">
                  <c:v>40883</c:v>
                </c:pt>
                <c:pt idx="786">
                  <c:v>40884</c:v>
                </c:pt>
                <c:pt idx="787">
                  <c:v>40885</c:v>
                </c:pt>
                <c:pt idx="788">
                  <c:v>40886</c:v>
                </c:pt>
                <c:pt idx="789">
                  <c:v>40889</c:v>
                </c:pt>
                <c:pt idx="790">
                  <c:v>40890</c:v>
                </c:pt>
                <c:pt idx="791">
                  <c:v>40891</c:v>
                </c:pt>
                <c:pt idx="792">
                  <c:v>40892</c:v>
                </c:pt>
                <c:pt idx="793">
                  <c:v>40893</c:v>
                </c:pt>
                <c:pt idx="794">
                  <c:v>40896</c:v>
                </c:pt>
                <c:pt idx="795">
                  <c:v>40897</c:v>
                </c:pt>
                <c:pt idx="796">
                  <c:v>40898</c:v>
                </c:pt>
                <c:pt idx="797">
                  <c:v>40899</c:v>
                </c:pt>
                <c:pt idx="798">
                  <c:v>40900</c:v>
                </c:pt>
                <c:pt idx="799">
                  <c:v>40904</c:v>
                </c:pt>
                <c:pt idx="800">
                  <c:v>40905</c:v>
                </c:pt>
                <c:pt idx="801">
                  <c:v>40906</c:v>
                </c:pt>
                <c:pt idx="802">
                  <c:v>40907</c:v>
                </c:pt>
                <c:pt idx="803">
                  <c:v>40910</c:v>
                </c:pt>
                <c:pt idx="804">
                  <c:v>40911</c:v>
                </c:pt>
                <c:pt idx="805">
                  <c:v>40912</c:v>
                </c:pt>
                <c:pt idx="806">
                  <c:v>40913</c:v>
                </c:pt>
                <c:pt idx="807">
                  <c:v>40914</c:v>
                </c:pt>
                <c:pt idx="808">
                  <c:v>40917</c:v>
                </c:pt>
                <c:pt idx="809">
                  <c:v>40918</c:v>
                </c:pt>
                <c:pt idx="810">
                  <c:v>40919</c:v>
                </c:pt>
                <c:pt idx="811">
                  <c:v>40920</c:v>
                </c:pt>
                <c:pt idx="812">
                  <c:v>40921</c:v>
                </c:pt>
                <c:pt idx="813">
                  <c:v>40924</c:v>
                </c:pt>
                <c:pt idx="814">
                  <c:v>40925</c:v>
                </c:pt>
                <c:pt idx="815">
                  <c:v>40926</c:v>
                </c:pt>
                <c:pt idx="816">
                  <c:v>40927</c:v>
                </c:pt>
                <c:pt idx="817">
                  <c:v>40928</c:v>
                </c:pt>
                <c:pt idx="818">
                  <c:v>40931</c:v>
                </c:pt>
                <c:pt idx="819">
                  <c:v>40932</c:v>
                </c:pt>
                <c:pt idx="820">
                  <c:v>40933</c:v>
                </c:pt>
                <c:pt idx="821">
                  <c:v>40934</c:v>
                </c:pt>
                <c:pt idx="822">
                  <c:v>40935</c:v>
                </c:pt>
                <c:pt idx="823">
                  <c:v>40938</c:v>
                </c:pt>
                <c:pt idx="824">
                  <c:v>40939</c:v>
                </c:pt>
                <c:pt idx="825">
                  <c:v>40940</c:v>
                </c:pt>
                <c:pt idx="826">
                  <c:v>40941</c:v>
                </c:pt>
                <c:pt idx="827">
                  <c:v>40942</c:v>
                </c:pt>
                <c:pt idx="828">
                  <c:v>40945</c:v>
                </c:pt>
                <c:pt idx="829">
                  <c:v>40946</c:v>
                </c:pt>
                <c:pt idx="830">
                  <c:v>40947</c:v>
                </c:pt>
                <c:pt idx="831">
                  <c:v>40948</c:v>
                </c:pt>
                <c:pt idx="832">
                  <c:v>40949</c:v>
                </c:pt>
                <c:pt idx="833">
                  <c:v>40952</c:v>
                </c:pt>
                <c:pt idx="834">
                  <c:v>40953</c:v>
                </c:pt>
                <c:pt idx="835">
                  <c:v>40954</c:v>
                </c:pt>
                <c:pt idx="836">
                  <c:v>40955</c:v>
                </c:pt>
                <c:pt idx="837">
                  <c:v>40956</c:v>
                </c:pt>
                <c:pt idx="838">
                  <c:v>40959</c:v>
                </c:pt>
                <c:pt idx="839">
                  <c:v>40960</c:v>
                </c:pt>
                <c:pt idx="840">
                  <c:v>40961</c:v>
                </c:pt>
                <c:pt idx="841">
                  <c:v>40962</c:v>
                </c:pt>
                <c:pt idx="842">
                  <c:v>40963</c:v>
                </c:pt>
                <c:pt idx="843">
                  <c:v>40966</c:v>
                </c:pt>
                <c:pt idx="844">
                  <c:v>40967</c:v>
                </c:pt>
                <c:pt idx="845">
                  <c:v>40968</c:v>
                </c:pt>
                <c:pt idx="846">
                  <c:v>40969</c:v>
                </c:pt>
                <c:pt idx="847">
                  <c:v>40970</c:v>
                </c:pt>
                <c:pt idx="848">
                  <c:v>40973</c:v>
                </c:pt>
                <c:pt idx="849">
                  <c:v>40974</c:v>
                </c:pt>
                <c:pt idx="850">
                  <c:v>40975</c:v>
                </c:pt>
                <c:pt idx="851">
                  <c:v>40976</c:v>
                </c:pt>
                <c:pt idx="852">
                  <c:v>40977</c:v>
                </c:pt>
                <c:pt idx="853">
                  <c:v>40980</c:v>
                </c:pt>
                <c:pt idx="854">
                  <c:v>40981</c:v>
                </c:pt>
                <c:pt idx="855">
                  <c:v>40982</c:v>
                </c:pt>
                <c:pt idx="856">
                  <c:v>40983</c:v>
                </c:pt>
                <c:pt idx="857">
                  <c:v>40984</c:v>
                </c:pt>
                <c:pt idx="858">
                  <c:v>40987</c:v>
                </c:pt>
                <c:pt idx="859">
                  <c:v>40988</c:v>
                </c:pt>
                <c:pt idx="860">
                  <c:v>40989</c:v>
                </c:pt>
                <c:pt idx="861">
                  <c:v>40990</c:v>
                </c:pt>
                <c:pt idx="862">
                  <c:v>40991</c:v>
                </c:pt>
                <c:pt idx="863">
                  <c:v>40994</c:v>
                </c:pt>
                <c:pt idx="864">
                  <c:v>40995</c:v>
                </c:pt>
                <c:pt idx="865">
                  <c:v>40996</c:v>
                </c:pt>
                <c:pt idx="866">
                  <c:v>40997</c:v>
                </c:pt>
                <c:pt idx="867">
                  <c:v>40998</c:v>
                </c:pt>
                <c:pt idx="868">
                  <c:v>41001</c:v>
                </c:pt>
                <c:pt idx="869">
                  <c:v>41002</c:v>
                </c:pt>
                <c:pt idx="870">
                  <c:v>41003</c:v>
                </c:pt>
                <c:pt idx="871">
                  <c:v>41004</c:v>
                </c:pt>
                <c:pt idx="872">
                  <c:v>41009</c:v>
                </c:pt>
                <c:pt idx="873">
                  <c:v>41010</c:v>
                </c:pt>
                <c:pt idx="874">
                  <c:v>41011</c:v>
                </c:pt>
                <c:pt idx="875">
                  <c:v>41012</c:v>
                </c:pt>
                <c:pt idx="876">
                  <c:v>41015</c:v>
                </c:pt>
                <c:pt idx="877">
                  <c:v>41016</c:v>
                </c:pt>
                <c:pt idx="878">
                  <c:v>41017</c:v>
                </c:pt>
                <c:pt idx="879">
                  <c:v>41018</c:v>
                </c:pt>
                <c:pt idx="880">
                  <c:v>41019</c:v>
                </c:pt>
                <c:pt idx="881">
                  <c:v>41022</c:v>
                </c:pt>
                <c:pt idx="882">
                  <c:v>41023</c:v>
                </c:pt>
                <c:pt idx="883">
                  <c:v>41024</c:v>
                </c:pt>
                <c:pt idx="884">
                  <c:v>41025</c:v>
                </c:pt>
                <c:pt idx="885">
                  <c:v>41026</c:v>
                </c:pt>
                <c:pt idx="886">
                  <c:v>41029</c:v>
                </c:pt>
                <c:pt idx="887">
                  <c:v>41030</c:v>
                </c:pt>
                <c:pt idx="888">
                  <c:v>41031</c:v>
                </c:pt>
                <c:pt idx="889">
                  <c:v>41032</c:v>
                </c:pt>
                <c:pt idx="890">
                  <c:v>41033</c:v>
                </c:pt>
                <c:pt idx="891">
                  <c:v>41036</c:v>
                </c:pt>
                <c:pt idx="892">
                  <c:v>41037</c:v>
                </c:pt>
                <c:pt idx="893">
                  <c:v>41038</c:v>
                </c:pt>
                <c:pt idx="894">
                  <c:v>41039</c:v>
                </c:pt>
                <c:pt idx="895">
                  <c:v>41040</c:v>
                </c:pt>
                <c:pt idx="896">
                  <c:v>41043</c:v>
                </c:pt>
                <c:pt idx="897">
                  <c:v>41044</c:v>
                </c:pt>
                <c:pt idx="898">
                  <c:v>41045</c:v>
                </c:pt>
                <c:pt idx="899">
                  <c:v>41046</c:v>
                </c:pt>
                <c:pt idx="900">
                  <c:v>41047</c:v>
                </c:pt>
                <c:pt idx="901">
                  <c:v>41050</c:v>
                </c:pt>
                <c:pt idx="902">
                  <c:v>41051</c:v>
                </c:pt>
                <c:pt idx="903">
                  <c:v>41052</c:v>
                </c:pt>
                <c:pt idx="904">
                  <c:v>41053</c:v>
                </c:pt>
                <c:pt idx="905">
                  <c:v>41054</c:v>
                </c:pt>
                <c:pt idx="906">
                  <c:v>41057</c:v>
                </c:pt>
                <c:pt idx="907">
                  <c:v>41058</c:v>
                </c:pt>
                <c:pt idx="908">
                  <c:v>41059</c:v>
                </c:pt>
                <c:pt idx="909">
                  <c:v>41060</c:v>
                </c:pt>
                <c:pt idx="910">
                  <c:v>41061</c:v>
                </c:pt>
                <c:pt idx="911">
                  <c:v>41064</c:v>
                </c:pt>
                <c:pt idx="912">
                  <c:v>41065</c:v>
                </c:pt>
                <c:pt idx="913">
                  <c:v>41066</c:v>
                </c:pt>
                <c:pt idx="914">
                  <c:v>41067</c:v>
                </c:pt>
                <c:pt idx="915">
                  <c:v>41068</c:v>
                </c:pt>
                <c:pt idx="916">
                  <c:v>41071</c:v>
                </c:pt>
                <c:pt idx="917">
                  <c:v>41072</c:v>
                </c:pt>
                <c:pt idx="918">
                  <c:v>41073</c:v>
                </c:pt>
                <c:pt idx="919">
                  <c:v>41074</c:v>
                </c:pt>
                <c:pt idx="920">
                  <c:v>41075</c:v>
                </c:pt>
                <c:pt idx="921">
                  <c:v>41078</c:v>
                </c:pt>
                <c:pt idx="922">
                  <c:v>41079</c:v>
                </c:pt>
                <c:pt idx="923">
                  <c:v>41080</c:v>
                </c:pt>
                <c:pt idx="924">
                  <c:v>41081</c:v>
                </c:pt>
                <c:pt idx="925">
                  <c:v>41082</c:v>
                </c:pt>
                <c:pt idx="926">
                  <c:v>41085</c:v>
                </c:pt>
                <c:pt idx="927">
                  <c:v>41086</c:v>
                </c:pt>
                <c:pt idx="928">
                  <c:v>41087</c:v>
                </c:pt>
                <c:pt idx="929">
                  <c:v>41088</c:v>
                </c:pt>
                <c:pt idx="930">
                  <c:v>41089</c:v>
                </c:pt>
                <c:pt idx="931">
                  <c:v>41092</c:v>
                </c:pt>
                <c:pt idx="932">
                  <c:v>41093</c:v>
                </c:pt>
                <c:pt idx="933">
                  <c:v>41094</c:v>
                </c:pt>
                <c:pt idx="934">
                  <c:v>41095</c:v>
                </c:pt>
                <c:pt idx="935">
                  <c:v>41096</c:v>
                </c:pt>
                <c:pt idx="936">
                  <c:v>41099</c:v>
                </c:pt>
                <c:pt idx="937">
                  <c:v>41100</c:v>
                </c:pt>
                <c:pt idx="938">
                  <c:v>41101</c:v>
                </c:pt>
                <c:pt idx="939">
                  <c:v>41102</c:v>
                </c:pt>
                <c:pt idx="940">
                  <c:v>41103</c:v>
                </c:pt>
                <c:pt idx="941">
                  <c:v>41106</c:v>
                </c:pt>
                <c:pt idx="942">
                  <c:v>41107</c:v>
                </c:pt>
                <c:pt idx="943">
                  <c:v>41108</c:v>
                </c:pt>
                <c:pt idx="944">
                  <c:v>41109</c:v>
                </c:pt>
                <c:pt idx="945">
                  <c:v>41110</c:v>
                </c:pt>
                <c:pt idx="946">
                  <c:v>41113</c:v>
                </c:pt>
                <c:pt idx="947">
                  <c:v>41114</c:v>
                </c:pt>
                <c:pt idx="948">
                  <c:v>41115</c:v>
                </c:pt>
                <c:pt idx="949">
                  <c:v>41116</c:v>
                </c:pt>
                <c:pt idx="950">
                  <c:v>41117</c:v>
                </c:pt>
                <c:pt idx="951">
                  <c:v>41120</c:v>
                </c:pt>
                <c:pt idx="952">
                  <c:v>41121</c:v>
                </c:pt>
                <c:pt idx="953">
                  <c:v>41122</c:v>
                </c:pt>
                <c:pt idx="954">
                  <c:v>41123</c:v>
                </c:pt>
                <c:pt idx="955">
                  <c:v>41124</c:v>
                </c:pt>
                <c:pt idx="956">
                  <c:v>41127</c:v>
                </c:pt>
                <c:pt idx="957">
                  <c:v>41128</c:v>
                </c:pt>
                <c:pt idx="958">
                  <c:v>41129</c:v>
                </c:pt>
                <c:pt idx="959">
                  <c:v>41130</c:v>
                </c:pt>
                <c:pt idx="960">
                  <c:v>41131</c:v>
                </c:pt>
                <c:pt idx="961">
                  <c:v>41134</c:v>
                </c:pt>
                <c:pt idx="962">
                  <c:v>41135</c:v>
                </c:pt>
                <c:pt idx="963">
                  <c:v>41136</c:v>
                </c:pt>
                <c:pt idx="964">
                  <c:v>41137</c:v>
                </c:pt>
                <c:pt idx="965">
                  <c:v>41138</c:v>
                </c:pt>
                <c:pt idx="966">
                  <c:v>41141</c:v>
                </c:pt>
                <c:pt idx="967">
                  <c:v>41142</c:v>
                </c:pt>
                <c:pt idx="968">
                  <c:v>41143</c:v>
                </c:pt>
                <c:pt idx="969">
                  <c:v>41144</c:v>
                </c:pt>
                <c:pt idx="970">
                  <c:v>41145</c:v>
                </c:pt>
                <c:pt idx="971">
                  <c:v>41148</c:v>
                </c:pt>
                <c:pt idx="972">
                  <c:v>41149</c:v>
                </c:pt>
                <c:pt idx="973">
                  <c:v>41150</c:v>
                </c:pt>
                <c:pt idx="974">
                  <c:v>41151</c:v>
                </c:pt>
                <c:pt idx="975">
                  <c:v>41152</c:v>
                </c:pt>
                <c:pt idx="976">
                  <c:v>41155</c:v>
                </c:pt>
                <c:pt idx="977">
                  <c:v>41156</c:v>
                </c:pt>
                <c:pt idx="978">
                  <c:v>41157</c:v>
                </c:pt>
                <c:pt idx="979">
                  <c:v>41158</c:v>
                </c:pt>
                <c:pt idx="980">
                  <c:v>41159</c:v>
                </c:pt>
                <c:pt idx="981">
                  <c:v>41162</c:v>
                </c:pt>
                <c:pt idx="982">
                  <c:v>41163</c:v>
                </c:pt>
                <c:pt idx="983">
                  <c:v>41164</c:v>
                </c:pt>
                <c:pt idx="984">
                  <c:v>41165</c:v>
                </c:pt>
                <c:pt idx="985">
                  <c:v>41166</c:v>
                </c:pt>
                <c:pt idx="986">
                  <c:v>41169</c:v>
                </c:pt>
                <c:pt idx="987">
                  <c:v>41170</c:v>
                </c:pt>
                <c:pt idx="988">
                  <c:v>41171</c:v>
                </c:pt>
                <c:pt idx="989">
                  <c:v>41172</c:v>
                </c:pt>
                <c:pt idx="990">
                  <c:v>41173</c:v>
                </c:pt>
                <c:pt idx="991">
                  <c:v>41176</c:v>
                </c:pt>
                <c:pt idx="992">
                  <c:v>41177</c:v>
                </c:pt>
                <c:pt idx="993">
                  <c:v>41178</c:v>
                </c:pt>
                <c:pt idx="994">
                  <c:v>41179</c:v>
                </c:pt>
                <c:pt idx="995">
                  <c:v>41180</c:v>
                </c:pt>
                <c:pt idx="996">
                  <c:v>41183</c:v>
                </c:pt>
                <c:pt idx="997">
                  <c:v>41184</c:v>
                </c:pt>
                <c:pt idx="998">
                  <c:v>41185</c:v>
                </c:pt>
                <c:pt idx="999">
                  <c:v>41186</c:v>
                </c:pt>
                <c:pt idx="1000">
                  <c:v>41187</c:v>
                </c:pt>
                <c:pt idx="1001">
                  <c:v>41190</c:v>
                </c:pt>
                <c:pt idx="1002">
                  <c:v>41191</c:v>
                </c:pt>
                <c:pt idx="1003">
                  <c:v>41192</c:v>
                </c:pt>
                <c:pt idx="1004">
                  <c:v>41193</c:v>
                </c:pt>
                <c:pt idx="1005">
                  <c:v>41194</c:v>
                </c:pt>
                <c:pt idx="1006">
                  <c:v>41197</c:v>
                </c:pt>
                <c:pt idx="1007">
                  <c:v>41198</c:v>
                </c:pt>
                <c:pt idx="1008">
                  <c:v>41199</c:v>
                </c:pt>
                <c:pt idx="1009">
                  <c:v>41200</c:v>
                </c:pt>
                <c:pt idx="1010">
                  <c:v>41201</c:v>
                </c:pt>
                <c:pt idx="1011">
                  <c:v>41204</c:v>
                </c:pt>
                <c:pt idx="1012">
                  <c:v>41205</c:v>
                </c:pt>
                <c:pt idx="1013">
                  <c:v>41206</c:v>
                </c:pt>
                <c:pt idx="1014">
                  <c:v>41207</c:v>
                </c:pt>
                <c:pt idx="1015">
                  <c:v>41208</c:v>
                </c:pt>
                <c:pt idx="1016">
                  <c:v>41211</c:v>
                </c:pt>
                <c:pt idx="1017">
                  <c:v>41212</c:v>
                </c:pt>
                <c:pt idx="1018">
                  <c:v>41213</c:v>
                </c:pt>
                <c:pt idx="1019">
                  <c:v>41214</c:v>
                </c:pt>
                <c:pt idx="1020">
                  <c:v>41215</c:v>
                </c:pt>
                <c:pt idx="1021">
                  <c:v>41218</c:v>
                </c:pt>
                <c:pt idx="1022">
                  <c:v>41219</c:v>
                </c:pt>
                <c:pt idx="1023">
                  <c:v>41220</c:v>
                </c:pt>
                <c:pt idx="1024">
                  <c:v>41221</c:v>
                </c:pt>
                <c:pt idx="1025">
                  <c:v>41222</c:v>
                </c:pt>
                <c:pt idx="1026">
                  <c:v>41225</c:v>
                </c:pt>
                <c:pt idx="1027">
                  <c:v>41226</c:v>
                </c:pt>
                <c:pt idx="1028">
                  <c:v>41227</c:v>
                </c:pt>
                <c:pt idx="1029">
                  <c:v>41228</c:v>
                </c:pt>
                <c:pt idx="1030">
                  <c:v>41229</c:v>
                </c:pt>
                <c:pt idx="1031">
                  <c:v>41232</c:v>
                </c:pt>
                <c:pt idx="1032">
                  <c:v>41233</c:v>
                </c:pt>
                <c:pt idx="1033">
                  <c:v>41234</c:v>
                </c:pt>
                <c:pt idx="1034">
                  <c:v>41235</c:v>
                </c:pt>
                <c:pt idx="1035">
                  <c:v>41236</c:v>
                </c:pt>
                <c:pt idx="1036">
                  <c:v>41239</c:v>
                </c:pt>
                <c:pt idx="1037">
                  <c:v>41240</c:v>
                </c:pt>
                <c:pt idx="1038">
                  <c:v>41241</c:v>
                </c:pt>
                <c:pt idx="1039">
                  <c:v>41242</c:v>
                </c:pt>
                <c:pt idx="1040">
                  <c:v>41243</c:v>
                </c:pt>
                <c:pt idx="1041">
                  <c:v>41246</c:v>
                </c:pt>
                <c:pt idx="1042">
                  <c:v>41247</c:v>
                </c:pt>
                <c:pt idx="1043">
                  <c:v>41248</c:v>
                </c:pt>
                <c:pt idx="1044">
                  <c:v>41249</c:v>
                </c:pt>
                <c:pt idx="1045">
                  <c:v>41250</c:v>
                </c:pt>
                <c:pt idx="1046">
                  <c:v>41253</c:v>
                </c:pt>
                <c:pt idx="1047">
                  <c:v>41254</c:v>
                </c:pt>
                <c:pt idx="1048">
                  <c:v>41255</c:v>
                </c:pt>
                <c:pt idx="1049">
                  <c:v>41256</c:v>
                </c:pt>
                <c:pt idx="1050">
                  <c:v>41257</c:v>
                </c:pt>
                <c:pt idx="1051">
                  <c:v>41260</c:v>
                </c:pt>
                <c:pt idx="1052">
                  <c:v>41261</c:v>
                </c:pt>
                <c:pt idx="1053">
                  <c:v>41262</c:v>
                </c:pt>
                <c:pt idx="1054">
                  <c:v>41263</c:v>
                </c:pt>
                <c:pt idx="1055">
                  <c:v>41264</c:v>
                </c:pt>
                <c:pt idx="1056">
                  <c:v>41267</c:v>
                </c:pt>
                <c:pt idx="1057">
                  <c:v>41270</c:v>
                </c:pt>
                <c:pt idx="1058">
                  <c:v>41271</c:v>
                </c:pt>
                <c:pt idx="1059">
                  <c:v>41274</c:v>
                </c:pt>
                <c:pt idx="1060">
                  <c:v>41276</c:v>
                </c:pt>
                <c:pt idx="1061">
                  <c:v>41277</c:v>
                </c:pt>
                <c:pt idx="1062">
                  <c:v>41278</c:v>
                </c:pt>
                <c:pt idx="1063">
                  <c:v>41281</c:v>
                </c:pt>
                <c:pt idx="1064">
                  <c:v>41282</c:v>
                </c:pt>
                <c:pt idx="1065">
                  <c:v>41283</c:v>
                </c:pt>
                <c:pt idx="1066">
                  <c:v>41284</c:v>
                </c:pt>
                <c:pt idx="1067">
                  <c:v>41285</c:v>
                </c:pt>
                <c:pt idx="1068">
                  <c:v>41288</c:v>
                </c:pt>
                <c:pt idx="1069">
                  <c:v>41289</c:v>
                </c:pt>
                <c:pt idx="1070">
                  <c:v>41290</c:v>
                </c:pt>
                <c:pt idx="1071">
                  <c:v>41291</c:v>
                </c:pt>
                <c:pt idx="1072">
                  <c:v>41292</c:v>
                </c:pt>
                <c:pt idx="1073">
                  <c:v>41295</c:v>
                </c:pt>
                <c:pt idx="1074">
                  <c:v>41296</c:v>
                </c:pt>
                <c:pt idx="1075">
                  <c:v>41297</c:v>
                </c:pt>
                <c:pt idx="1076">
                  <c:v>41298</c:v>
                </c:pt>
                <c:pt idx="1077">
                  <c:v>41299</c:v>
                </c:pt>
                <c:pt idx="1078">
                  <c:v>41302</c:v>
                </c:pt>
                <c:pt idx="1079">
                  <c:v>41303</c:v>
                </c:pt>
                <c:pt idx="1080">
                  <c:v>41304</c:v>
                </c:pt>
                <c:pt idx="1081">
                  <c:v>41305</c:v>
                </c:pt>
                <c:pt idx="1082">
                  <c:v>41306</c:v>
                </c:pt>
                <c:pt idx="1083">
                  <c:v>41309</c:v>
                </c:pt>
                <c:pt idx="1084">
                  <c:v>41310</c:v>
                </c:pt>
                <c:pt idx="1085">
                  <c:v>41311</c:v>
                </c:pt>
                <c:pt idx="1086">
                  <c:v>41312</c:v>
                </c:pt>
                <c:pt idx="1087">
                  <c:v>41313</c:v>
                </c:pt>
                <c:pt idx="1088">
                  <c:v>41316</c:v>
                </c:pt>
                <c:pt idx="1089">
                  <c:v>41317</c:v>
                </c:pt>
                <c:pt idx="1090">
                  <c:v>41318</c:v>
                </c:pt>
                <c:pt idx="1091">
                  <c:v>41319</c:v>
                </c:pt>
                <c:pt idx="1092">
                  <c:v>41320</c:v>
                </c:pt>
                <c:pt idx="1093">
                  <c:v>41323</c:v>
                </c:pt>
                <c:pt idx="1094">
                  <c:v>41324</c:v>
                </c:pt>
                <c:pt idx="1095">
                  <c:v>41325</c:v>
                </c:pt>
                <c:pt idx="1096">
                  <c:v>41326</c:v>
                </c:pt>
                <c:pt idx="1097">
                  <c:v>41327</c:v>
                </c:pt>
                <c:pt idx="1098">
                  <c:v>41330</c:v>
                </c:pt>
                <c:pt idx="1099">
                  <c:v>41331</c:v>
                </c:pt>
                <c:pt idx="1100">
                  <c:v>41332</c:v>
                </c:pt>
                <c:pt idx="1101">
                  <c:v>41333</c:v>
                </c:pt>
                <c:pt idx="1102">
                  <c:v>41334</c:v>
                </c:pt>
                <c:pt idx="1103">
                  <c:v>41337</c:v>
                </c:pt>
                <c:pt idx="1104">
                  <c:v>41338</c:v>
                </c:pt>
                <c:pt idx="1105">
                  <c:v>41339</c:v>
                </c:pt>
                <c:pt idx="1106">
                  <c:v>41340</c:v>
                </c:pt>
                <c:pt idx="1107">
                  <c:v>41341</c:v>
                </c:pt>
                <c:pt idx="1108">
                  <c:v>41344</c:v>
                </c:pt>
                <c:pt idx="1109">
                  <c:v>41345</c:v>
                </c:pt>
                <c:pt idx="1110">
                  <c:v>41346</c:v>
                </c:pt>
                <c:pt idx="1111">
                  <c:v>41347</c:v>
                </c:pt>
                <c:pt idx="1112">
                  <c:v>41348</c:v>
                </c:pt>
                <c:pt idx="1113">
                  <c:v>41351</c:v>
                </c:pt>
                <c:pt idx="1114">
                  <c:v>41352</c:v>
                </c:pt>
                <c:pt idx="1115">
                  <c:v>41353</c:v>
                </c:pt>
                <c:pt idx="1116">
                  <c:v>41354</c:v>
                </c:pt>
                <c:pt idx="1117">
                  <c:v>41355</c:v>
                </c:pt>
                <c:pt idx="1118">
                  <c:v>41358</c:v>
                </c:pt>
                <c:pt idx="1119">
                  <c:v>41359</c:v>
                </c:pt>
                <c:pt idx="1120">
                  <c:v>41360</c:v>
                </c:pt>
                <c:pt idx="1121">
                  <c:v>41361</c:v>
                </c:pt>
                <c:pt idx="1122">
                  <c:v>41366</c:v>
                </c:pt>
                <c:pt idx="1123">
                  <c:v>41367</c:v>
                </c:pt>
                <c:pt idx="1124">
                  <c:v>41368</c:v>
                </c:pt>
                <c:pt idx="1125">
                  <c:v>41369</c:v>
                </c:pt>
                <c:pt idx="1126">
                  <c:v>41372</c:v>
                </c:pt>
                <c:pt idx="1127">
                  <c:v>41373</c:v>
                </c:pt>
                <c:pt idx="1128">
                  <c:v>41374</c:v>
                </c:pt>
                <c:pt idx="1129">
                  <c:v>41375</c:v>
                </c:pt>
                <c:pt idx="1130">
                  <c:v>41376</c:v>
                </c:pt>
                <c:pt idx="1131">
                  <c:v>41379</c:v>
                </c:pt>
                <c:pt idx="1132">
                  <c:v>41380</c:v>
                </c:pt>
                <c:pt idx="1133">
                  <c:v>41381</c:v>
                </c:pt>
                <c:pt idx="1134">
                  <c:v>41382</c:v>
                </c:pt>
                <c:pt idx="1135">
                  <c:v>41383</c:v>
                </c:pt>
                <c:pt idx="1136">
                  <c:v>41386</c:v>
                </c:pt>
                <c:pt idx="1137">
                  <c:v>41387</c:v>
                </c:pt>
                <c:pt idx="1138">
                  <c:v>41388</c:v>
                </c:pt>
                <c:pt idx="1139">
                  <c:v>41389</c:v>
                </c:pt>
                <c:pt idx="1140">
                  <c:v>41390</c:v>
                </c:pt>
                <c:pt idx="1141">
                  <c:v>41393</c:v>
                </c:pt>
                <c:pt idx="1142">
                  <c:v>41394</c:v>
                </c:pt>
                <c:pt idx="1143">
                  <c:v>41395</c:v>
                </c:pt>
                <c:pt idx="1144">
                  <c:v>41396</c:v>
                </c:pt>
                <c:pt idx="1145">
                  <c:v>41397</c:v>
                </c:pt>
                <c:pt idx="1146">
                  <c:v>41400</c:v>
                </c:pt>
                <c:pt idx="1147">
                  <c:v>41401</c:v>
                </c:pt>
                <c:pt idx="1148">
                  <c:v>41402</c:v>
                </c:pt>
                <c:pt idx="1149">
                  <c:v>41403</c:v>
                </c:pt>
                <c:pt idx="1150">
                  <c:v>41404</c:v>
                </c:pt>
                <c:pt idx="1151">
                  <c:v>41407</c:v>
                </c:pt>
                <c:pt idx="1152">
                  <c:v>41408</c:v>
                </c:pt>
                <c:pt idx="1153">
                  <c:v>41409</c:v>
                </c:pt>
                <c:pt idx="1154">
                  <c:v>41410</c:v>
                </c:pt>
                <c:pt idx="1155">
                  <c:v>41411</c:v>
                </c:pt>
                <c:pt idx="1156">
                  <c:v>41414</c:v>
                </c:pt>
                <c:pt idx="1157">
                  <c:v>41415</c:v>
                </c:pt>
                <c:pt idx="1158">
                  <c:v>41416</c:v>
                </c:pt>
                <c:pt idx="1159">
                  <c:v>41417</c:v>
                </c:pt>
                <c:pt idx="1160">
                  <c:v>41418</c:v>
                </c:pt>
                <c:pt idx="1161">
                  <c:v>41421</c:v>
                </c:pt>
                <c:pt idx="1162">
                  <c:v>41422</c:v>
                </c:pt>
                <c:pt idx="1163">
                  <c:v>41423</c:v>
                </c:pt>
                <c:pt idx="1164">
                  <c:v>41424</c:v>
                </c:pt>
                <c:pt idx="1165">
                  <c:v>41425</c:v>
                </c:pt>
                <c:pt idx="1166">
                  <c:v>41428</c:v>
                </c:pt>
                <c:pt idx="1167">
                  <c:v>41429</c:v>
                </c:pt>
                <c:pt idx="1168">
                  <c:v>41430</c:v>
                </c:pt>
                <c:pt idx="1169">
                  <c:v>41431</c:v>
                </c:pt>
                <c:pt idx="1170">
                  <c:v>41432</c:v>
                </c:pt>
                <c:pt idx="1171">
                  <c:v>41435</c:v>
                </c:pt>
                <c:pt idx="1172">
                  <c:v>41436</c:v>
                </c:pt>
                <c:pt idx="1173">
                  <c:v>41437</c:v>
                </c:pt>
                <c:pt idx="1174">
                  <c:v>41438</c:v>
                </c:pt>
                <c:pt idx="1175">
                  <c:v>41439</c:v>
                </c:pt>
                <c:pt idx="1176">
                  <c:v>41442</c:v>
                </c:pt>
                <c:pt idx="1177">
                  <c:v>41443</c:v>
                </c:pt>
                <c:pt idx="1178">
                  <c:v>41444</c:v>
                </c:pt>
                <c:pt idx="1179">
                  <c:v>41445</c:v>
                </c:pt>
                <c:pt idx="1180">
                  <c:v>41446</c:v>
                </c:pt>
                <c:pt idx="1181">
                  <c:v>41449</c:v>
                </c:pt>
                <c:pt idx="1182">
                  <c:v>41450</c:v>
                </c:pt>
                <c:pt idx="1183">
                  <c:v>41451</c:v>
                </c:pt>
                <c:pt idx="1184">
                  <c:v>41452</c:v>
                </c:pt>
                <c:pt idx="1185">
                  <c:v>41453</c:v>
                </c:pt>
                <c:pt idx="1186">
                  <c:v>41456</c:v>
                </c:pt>
                <c:pt idx="1187">
                  <c:v>41457</c:v>
                </c:pt>
                <c:pt idx="1188">
                  <c:v>41458</c:v>
                </c:pt>
                <c:pt idx="1189">
                  <c:v>41459</c:v>
                </c:pt>
                <c:pt idx="1190">
                  <c:v>41460</c:v>
                </c:pt>
                <c:pt idx="1191">
                  <c:v>41463</c:v>
                </c:pt>
                <c:pt idx="1192">
                  <c:v>41464</c:v>
                </c:pt>
                <c:pt idx="1193">
                  <c:v>41465</c:v>
                </c:pt>
                <c:pt idx="1194">
                  <c:v>41466</c:v>
                </c:pt>
                <c:pt idx="1195">
                  <c:v>41467</c:v>
                </c:pt>
                <c:pt idx="1196">
                  <c:v>41470</c:v>
                </c:pt>
                <c:pt idx="1197">
                  <c:v>41471</c:v>
                </c:pt>
                <c:pt idx="1198">
                  <c:v>41472</c:v>
                </c:pt>
                <c:pt idx="1199">
                  <c:v>41473</c:v>
                </c:pt>
                <c:pt idx="1200">
                  <c:v>41474</c:v>
                </c:pt>
                <c:pt idx="1201">
                  <c:v>41477</c:v>
                </c:pt>
                <c:pt idx="1202">
                  <c:v>41478</c:v>
                </c:pt>
                <c:pt idx="1203">
                  <c:v>41479</c:v>
                </c:pt>
                <c:pt idx="1204">
                  <c:v>41480</c:v>
                </c:pt>
                <c:pt idx="1205">
                  <c:v>41481</c:v>
                </c:pt>
                <c:pt idx="1206">
                  <c:v>41484</c:v>
                </c:pt>
                <c:pt idx="1207">
                  <c:v>41485</c:v>
                </c:pt>
                <c:pt idx="1208">
                  <c:v>41486</c:v>
                </c:pt>
                <c:pt idx="1209">
                  <c:v>41487</c:v>
                </c:pt>
                <c:pt idx="1210">
                  <c:v>41488</c:v>
                </c:pt>
                <c:pt idx="1211">
                  <c:v>41491</c:v>
                </c:pt>
                <c:pt idx="1212">
                  <c:v>41492</c:v>
                </c:pt>
                <c:pt idx="1213">
                  <c:v>41493</c:v>
                </c:pt>
                <c:pt idx="1214">
                  <c:v>41494</c:v>
                </c:pt>
                <c:pt idx="1215">
                  <c:v>41495</c:v>
                </c:pt>
                <c:pt idx="1216">
                  <c:v>41498</c:v>
                </c:pt>
                <c:pt idx="1217">
                  <c:v>41499</c:v>
                </c:pt>
                <c:pt idx="1218">
                  <c:v>41500</c:v>
                </c:pt>
                <c:pt idx="1219">
                  <c:v>41501</c:v>
                </c:pt>
                <c:pt idx="1220">
                  <c:v>41502</c:v>
                </c:pt>
                <c:pt idx="1221">
                  <c:v>41505</c:v>
                </c:pt>
                <c:pt idx="1222">
                  <c:v>41506</c:v>
                </c:pt>
                <c:pt idx="1223">
                  <c:v>41507</c:v>
                </c:pt>
                <c:pt idx="1224">
                  <c:v>41508</c:v>
                </c:pt>
                <c:pt idx="1225">
                  <c:v>41509</c:v>
                </c:pt>
                <c:pt idx="1226">
                  <c:v>41512</c:v>
                </c:pt>
                <c:pt idx="1227">
                  <c:v>41513</c:v>
                </c:pt>
                <c:pt idx="1228">
                  <c:v>41514</c:v>
                </c:pt>
                <c:pt idx="1229">
                  <c:v>41515</c:v>
                </c:pt>
                <c:pt idx="1230">
                  <c:v>41516</c:v>
                </c:pt>
                <c:pt idx="1231">
                  <c:v>41519</c:v>
                </c:pt>
                <c:pt idx="1232">
                  <c:v>41520</c:v>
                </c:pt>
                <c:pt idx="1233">
                  <c:v>41521</c:v>
                </c:pt>
                <c:pt idx="1234">
                  <c:v>41522</c:v>
                </c:pt>
                <c:pt idx="1235">
                  <c:v>41523</c:v>
                </c:pt>
                <c:pt idx="1236">
                  <c:v>41526</c:v>
                </c:pt>
                <c:pt idx="1237">
                  <c:v>41527</c:v>
                </c:pt>
                <c:pt idx="1238">
                  <c:v>41528</c:v>
                </c:pt>
                <c:pt idx="1239">
                  <c:v>41529</c:v>
                </c:pt>
                <c:pt idx="1240">
                  <c:v>41530</c:v>
                </c:pt>
                <c:pt idx="1241">
                  <c:v>41533</c:v>
                </c:pt>
                <c:pt idx="1242">
                  <c:v>41534</c:v>
                </c:pt>
                <c:pt idx="1243">
                  <c:v>41535</c:v>
                </c:pt>
                <c:pt idx="1244">
                  <c:v>41536</c:v>
                </c:pt>
                <c:pt idx="1245">
                  <c:v>41537</c:v>
                </c:pt>
              </c:numCache>
            </c:numRef>
          </c:cat>
          <c:val>
            <c:numRef>
              <c:f>Sheet1!$C$2:$C$1247</c:f>
              <c:numCache>
                <c:formatCode>General</c:formatCode>
                <c:ptCount val="1246"/>
                <c:pt idx="0">
                  <c:v>100</c:v>
                </c:pt>
                <c:pt idx="1">
                  <c:v>97.219934140000007</c:v>
                </c:pt>
                <c:pt idx="2">
                  <c:v>96.194538640000005</c:v>
                </c:pt>
                <c:pt idx="3">
                  <c:v>93.319661389999993</c:v>
                </c:pt>
                <c:pt idx="4">
                  <c:v>94.425165919999998</c:v>
                </c:pt>
                <c:pt idx="5">
                  <c:v>92.815634270000004</c:v>
                </c:pt>
                <c:pt idx="6">
                  <c:v>94.836078090000001</c:v>
                </c:pt>
                <c:pt idx="7">
                  <c:v>97.486084590000004</c:v>
                </c:pt>
                <c:pt idx="8">
                  <c:v>97.953544309999998</c:v>
                </c:pt>
                <c:pt idx="9">
                  <c:v>98.721459980000006</c:v>
                </c:pt>
                <c:pt idx="10">
                  <c:v>95.24322042</c:v>
                </c:pt>
                <c:pt idx="11">
                  <c:v>92.950594409999994</c:v>
                </c:pt>
                <c:pt idx="12">
                  <c:v>93.489869510000005</c:v>
                </c:pt>
                <c:pt idx="13">
                  <c:v>94.033479920000005</c:v>
                </c:pt>
                <c:pt idx="14">
                  <c:v>94.342041030000004</c:v>
                </c:pt>
                <c:pt idx="15">
                  <c:v>95.301652880000006</c:v>
                </c:pt>
                <c:pt idx="16">
                  <c:v>100.4280649</c:v>
                </c:pt>
                <c:pt idx="17">
                  <c:v>103.9151636</c:v>
                </c:pt>
                <c:pt idx="18">
                  <c:v>104.40411140000001</c:v>
                </c:pt>
                <c:pt idx="19">
                  <c:v>101.8477853</c:v>
                </c:pt>
                <c:pt idx="20">
                  <c:v>104.75244429999999</c:v>
                </c:pt>
                <c:pt idx="21">
                  <c:v>105.2711738</c:v>
                </c:pt>
                <c:pt idx="22">
                  <c:v>106.6211522</c:v>
                </c:pt>
                <c:pt idx="23">
                  <c:v>109.4206327</c:v>
                </c:pt>
                <c:pt idx="24">
                  <c:v>108.1343645</c:v>
                </c:pt>
                <c:pt idx="25">
                  <c:v>106.00440690000001</c:v>
                </c:pt>
                <c:pt idx="26">
                  <c:v>105.26910030000001</c:v>
                </c:pt>
                <c:pt idx="27">
                  <c:v>105.4102807</c:v>
                </c:pt>
                <c:pt idx="28">
                  <c:v>105.9964903</c:v>
                </c:pt>
                <c:pt idx="29">
                  <c:v>107.5083832</c:v>
                </c:pt>
                <c:pt idx="30">
                  <c:v>107.4561709</c:v>
                </c:pt>
                <c:pt idx="31">
                  <c:v>109.76953109999999</c:v>
                </c:pt>
                <c:pt idx="32">
                  <c:v>114.46486229999999</c:v>
                </c:pt>
                <c:pt idx="33">
                  <c:v>113.3486137</c:v>
                </c:pt>
                <c:pt idx="34">
                  <c:v>112.68210670000001</c:v>
                </c:pt>
                <c:pt idx="35">
                  <c:v>109.35239869999999</c:v>
                </c:pt>
                <c:pt idx="36">
                  <c:v>108.8167049</c:v>
                </c:pt>
                <c:pt idx="37">
                  <c:v>106.9870148</c:v>
                </c:pt>
                <c:pt idx="38">
                  <c:v>105.0872057</c:v>
                </c:pt>
                <c:pt idx="39">
                  <c:v>105.426868</c:v>
                </c:pt>
                <c:pt idx="40">
                  <c:v>101.66966050000001</c:v>
                </c:pt>
                <c:pt idx="41">
                  <c:v>103.84447919999999</c:v>
                </c:pt>
                <c:pt idx="42">
                  <c:v>103.52837839999999</c:v>
                </c:pt>
                <c:pt idx="43">
                  <c:v>101.9948089</c:v>
                </c:pt>
                <c:pt idx="44">
                  <c:v>100.6501083</c:v>
                </c:pt>
                <c:pt idx="45">
                  <c:v>101.7695612</c:v>
                </c:pt>
                <c:pt idx="46">
                  <c:v>99.800010180000001</c:v>
                </c:pt>
                <c:pt idx="47">
                  <c:v>100.1698311</c:v>
                </c:pt>
                <c:pt idx="48">
                  <c:v>100.78111010000001</c:v>
                </c:pt>
                <c:pt idx="49">
                  <c:v>103.38814050000001</c:v>
                </c:pt>
                <c:pt idx="50">
                  <c:v>103.10879559999999</c:v>
                </c:pt>
                <c:pt idx="51">
                  <c:v>102.3137371</c:v>
                </c:pt>
                <c:pt idx="52">
                  <c:v>99.94439491</c:v>
                </c:pt>
                <c:pt idx="53">
                  <c:v>99.753264209999998</c:v>
                </c:pt>
                <c:pt idx="54">
                  <c:v>100.0269543</c:v>
                </c:pt>
                <c:pt idx="55">
                  <c:v>100.3997912</c:v>
                </c:pt>
                <c:pt idx="56">
                  <c:v>102.3448382</c:v>
                </c:pt>
                <c:pt idx="57">
                  <c:v>101.40690290000001</c:v>
                </c:pt>
                <c:pt idx="58">
                  <c:v>101.81932310000001</c:v>
                </c:pt>
                <c:pt idx="59">
                  <c:v>101.5823888</c:v>
                </c:pt>
                <c:pt idx="60">
                  <c:v>100.1924501</c:v>
                </c:pt>
                <c:pt idx="61">
                  <c:v>102.1035687</c:v>
                </c:pt>
                <c:pt idx="62">
                  <c:v>100.99580229999999</c:v>
                </c:pt>
                <c:pt idx="63">
                  <c:v>98.152403179999993</c:v>
                </c:pt>
                <c:pt idx="64">
                  <c:v>98.586122860000003</c:v>
                </c:pt>
                <c:pt idx="65">
                  <c:v>98.357859259999998</c:v>
                </c:pt>
                <c:pt idx="66">
                  <c:v>96.247504840000005</c:v>
                </c:pt>
                <c:pt idx="67">
                  <c:v>97.926966960000001</c:v>
                </c:pt>
                <c:pt idx="68">
                  <c:v>97.529814689999995</c:v>
                </c:pt>
                <c:pt idx="69">
                  <c:v>97.567136070000004</c:v>
                </c:pt>
                <c:pt idx="70">
                  <c:v>97.052364909999994</c:v>
                </c:pt>
                <c:pt idx="71">
                  <c:v>95.167069729999994</c:v>
                </c:pt>
                <c:pt idx="72">
                  <c:v>91.351995279999997</c:v>
                </c:pt>
                <c:pt idx="73">
                  <c:v>91.334842519999995</c:v>
                </c:pt>
                <c:pt idx="74">
                  <c:v>92.255248080000001</c:v>
                </c:pt>
                <c:pt idx="75">
                  <c:v>91.505993099999998</c:v>
                </c:pt>
                <c:pt idx="76">
                  <c:v>90.824595169999995</c:v>
                </c:pt>
                <c:pt idx="77">
                  <c:v>88.887653220000004</c:v>
                </c:pt>
                <c:pt idx="78">
                  <c:v>90.369952900000001</c:v>
                </c:pt>
                <c:pt idx="79">
                  <c:v>90.839862999999994</c:v>
                </c:pt>
                <c:pt idx="80">
                  <c:v>90.368444960000005</c:v>
                </c:pt>
                <c:pt idx="81">
                  <c:v>92.927409920000002</c:v>
                </c:pt>
                <c:pt idx="82">
                  <c:v>93.505514329999997</c:v>
                </c:pt>
                <c:pt idx="83">
                  <c:v>92.406418520000003</c:v>
                </c:pt>
                <c:pt idx="84">
                  <c:v>93.463669139999993</c:v>
                </c:pt>
                <c:pt idx="85">
                  <c:v>95.046623449999998</c:v>
                </c:pt>
                <c:pt idx="86">
                  <c:v>96.381899509999997</c:v>
                </c:pt>
                <c:pt idx="87">
                  <c:v>100.367936</c:v>
                </c:pt>
                <c:pt idx="88">
                  <c:v>102.0681323</c:v>
                </c:pt>
                <c:pt idx="89">
                  <c:v>101.10512749999999</c:v>
                </c:pt>
                <c:pt idx="90">
                  <c:v>103.2976644</c:v>
                </c:pt>
                <c:pt idx="91">
                  <c:v>103.6143307</c:v>
                </c:pt>
                <c:pt idx="92">
                  <c:v>99.128979299999997</c:v>
                </c:pt>
                <c:pt idx="93">
                  <c:v>100.1920732</c:v>
                </c:pt>
                <c:pt idx="94">
                  <c:v>101.32490900000001</c:v>
                </c:pt>
                <c:pt idx="95">
                  <c:v>106.42512069999999</c:v>
                </c:pt>
                <c:pt idx="96">
                  <c:v>107.23092320000001</c:v>
                </c:pt>
                <c:pt idx="97">
                  <c:v>109.2634305</c:v>
                </c:pt>
                <c:pt idx="98">
                  <c:v>106.60022960000001</c:v>
                </c:pt>
                <c:pt idx="99">
                  <c:v>104.5034466</c:v>
                </c:pt>
                <c:pt idx="100">
                  <c:v>106.4270056</c:v>
                </c:pt>
                <c:pt idx="101">
                  <c:v>112.005421</c:v>
                </c:pt>
                <c:pt idx="102">
                  <c:v>112.2103116</c:v>
                </c:pt>
                <c:pt idx="103">
                  <c:v>112.7254598</c:v>
                </c:pt>
                <c:pt idx="104">
                  <c:v>113.1493779</c:v>
                </c:pt>
                <c:pt idx="105">
                  <c:v>112.76033080000001</c:v>
                </c:pt>
                <c:pt idx="106">
                  <c:v>111.59300090000001</c:v>
                </c:pt>
                <c:pt idx="107">
                  <c:v>110.81415269999999</c:v>
                </c:pt>
                <c:pt idx="108">
                  <c:v>111.9262545</c:v>
                </c:pt>
                <c:pt idx="109">
                  <c:v>113.6290896</c:v>
                </c:pt>
                <c:pt idx="110">
                  <c:v>111.636731</c:v>
                </c:pt>
                <c:pt idx="111">
                  <c:v>110.60436129999999</c:v>
                </c:pt>
                <c:pt idx="112">
                  <c:v>112.950896</c:v>
                </c:pt>
                <c:pt idx="113">
                  <c:v>118.4844504</c:v>
                </c:pt>
                <c:pt idx="114">
                  <c:v>118.28351809999999</c:v>
                </c:pt>
                <c:pt idx="115">
                  <c:v>123.9245128</c:v>
                </c:pt>
                <c:pt idx="116">
                  <c:v>125.3693026</c:v>
                </c:pt>
                <c:pt idx="117">
                  <c:v>129.69085459999999</c:v>
                </c:pt>
                <c:pt idx="118">
                  <c:v>132.2236192</c:v>
                </c:pt>
                <c:pt idx="119">
                  <c:v>132.62529520000001</c:v>
                </c:pt>
                <c:pt idx="120">
                  <c:v>129.89291779999999</c:v>
                </c:pt>
                <c:pt idx="121">
                  <c:v>130.77128970000001</c:v>
                </c:pt>
                <c:pt idx="122">
                  <c:v>130.3452982</c:v>
                </c:pt>
                <c:pt idx="123">
                  <c:v>126.60844779999999</c:v>
                </c:pt>
                <c:pt idx="124">
                  <c:v>128.21458659999999</c:v>
                </c:pt>
                <c:pt idx="125">
                  <c:v>129.89499119999999</c:v>
                </c:pt>
                <c:pt idx="126">
                  <c:v>135.1294091</c:v>
                </c:pt>
                <c:pt idx="127">
                  <c:v>135.59686880000001</c:v>
                </c:pt>
                <c:pt idx="128">
                  <c:v>133.37586970000001</c:v>
                </c:pt>
                <c:pt idx="129">
                  <c:v>135.68753330000001</c:v>
                </c:pt>
                <c:pt idx="130">
                  <c:v>135.730321</c:v>
                </c:pt>
                <c:pt idx="131">
                  <c:v>133.52006589999999</c:v>
                </c:pt>
                <c:pt idx="132">
                  <c:v>136.90405949999999</c:v>
                </c:pt>
                <c:pt idx="133">
                  <c:v>136.10485420000001</c:v>
                </c:pt>
                <c:pt idx="134">
                  <c:v>137.9760125</c:v>
                </c:pt>
                <c:pt idx="135">
                  <c:v>141.74886480000001</c:v>
                </c:pt>
                <c:pt idx="136">
                  <c:v>141.4280517</c:v>
                </c:pt>
                <c:pt idx="137">
                  <c:v>141.95168200000001</c:v>
                </c:pt>
                <c:pt idx="138">
                  <c:v>142.62290139999999</c:v>
                </c:pt>
                <c:pt idx="139">
                  <c:v>145.03069590000001</c:v>
                </c:pt>
                <c:pt idx="140">
                  <c:v>141.98052129999999</c:v>
                </c:pt>
                <c:pt idx="141">
                  <c:v>143.01873420000001</c:v>
                </c:pt>
                <c:pt idx="142">
                  <c:v>146.1603274</c:v>
                </c:pt>
                <c:pt idx="143">
                  <c:v>145.3358642</c:v>
                </c:pt>
                <c:pt idx="144">
                  <c:v>145.0372931</c:v>
                </c:pt>
                <c:pt idx="145">
                  <c:v>142.82496459999999</c:v>
                </c:pt>
                <c:pt idx="146">
                  <c:v>140.49822159999999</c:v>
                </c:pt>
                <c:pt idx="147">
                  <c:v>139.03307469999999</c:v>
                </c:pt>
                <c:pt idx="148">
                  <c:v>135.9289914</c:v>
                </c:pt>
                <c:pt idx="149">
                  <c:v>138.33923630000001</c:v>
                </c:pt>
                <c:pt idx="150">
                  <c:v>136.9570257</c:v>
                </c:pt>
                <c:pt idx="151">
                  <c:v>134.969945</c:v>
                </c:pt>
                <c:pt idx="152">
                  <c:v>138.3401787</c:v>
                </c:pt>
                <c:pt idx="153">
                  <c:v>140.37758679999999</c:v>
                </c:pt>
                <c:pt idx="154">
                  <c:v>141.0286376</c:v>
                </c:pt>
                <c:pt idx="155">
                  <c:v>141.19658380000001</c:v>
                </c:pt>
                <c:pt idx="156">
                  <c:v>141.85555120000001</c:v>
                </c:pt>
                <c:pt idx="157">
                  <c:v>142.89979589999999</c:v>
                </c:pt>
                <c:pt idx="158">
                  <c:v>142.55410190000001</c:v>
                </c:pt>
                <c:pt idx="159">
                  <c:v>142.0977632</c:v>
                </c:pt>
                <c:pt idx="160">
                  <c:v>140.06600979999999</c:v>
                </c:pt>
                <c:pt idx="161">
                  <c:v>140.89952070000001</c:v>
                </c:pt>
                <c:pt idx="162">
                  <c:v>140.18494820000001</c:v>
                </c:pt>
                <c:pt idx="163">
                  <c:v>142.30340770000001</c:v>
                </c:pt>
                <c:pt idx="164">
                  <c:v>140.9837765</c:v>
                </c:pt>
                <c:pt idx="165">
                  <c:v>138.76711270000001</c:v>
                </c:pt>
                <c:pt idx="166">
                  <c:v>142.20821939999999</c:v>
                </c:pt>
                <c:pt idx="167">
                  <c:v>147.08205240000001</c:v>
                </c:pt>
                <c:pt idx="168">
                  <c:v>147.39117899999999</c:v>
                </c:pt>
                <c:pt idx="169">
                  <c:v>149.0749764</c:v>
                </c:pt>
                <c:pt idx="170">
                  <c:v>151.8672942</c:v>
                </c:pt>
                <c:pt idx="171">
                  <c:v>151.907443</c:v>
                </c:pt>
                <c:pt idx="172">
                  <c:v>151.4767392</c:v>
                </c:pt>
                <c:pt idx="173">
                  <c:v>153.83609129999999</c:v>
                </c:pt>
                <c:pt idx="174">
                  <c:v>155.5240355</c:v>
                </c:pt>
                <c:pt idx="175">
                  <c:v>157.2468508</c:v>
                </c:pt>
                <c:pt idx="176">
                  <c:v>160.09552769999999</c:v>
                </c:pt>
                <c:pt idx="177">
                  <c:v>158.09562940000001</c:v>
                </c:pt>
                <c:pt idx="178">
                  <c:v>160.05368250000001</c:v>
                </c:pt>
                <c:pt idx="179">
                  <c:v>161.9566959</c:v>
                </c:pt>
                <c:pt idx="180">
                  <c:v>163.3683111</c:v>
                </c:pt>
                <c:pt idx="181">
                  <c:v>163.3786782</c:v>
                </c:pt>
                <c:pt idx="182">
                  <c:v>161.26040710000001</c:v>
                </c:pt>
                <c:pt idx="183">
                  <c:v>161.920694</c:v>
                </c:pt>
                <c:pt idx="184">
                  <c:v>160.2936326</c:v>
                </c:pt>
                <c:pt idx="185">
                  <c:v>160.36488249999999</c:v>
                </c:pt>
                <c:pt idx="186">
                  <c:v>161.33033760000001</c:v>
                </c:pt>
                <c:pt idx="187">
                  <c:v>158.89747360000001</c:v>
                </c:pt>
                <c:pt idx="188">
                  <c:v>161.61156740000001</c:v>
                </c:pt>
                <c:pt idx="189">
                  <c:v>161.6034622</c:v>
                </c:pt>
                <c:pt idx="190">
                  <c:v>157.24025359999999</c:v>
                </c:pt>
                <c:pt idx="191">
                  <c:v>157.2619301</c:v>
                </c:pt>
                <c:pt idx="192">
                  <c:v>155.24921449999999</c:v>
                </c:pt>
                <c:pt idx="193">
                  <c:v>157.7361755</c:v>
                </c:pt>
                <c:pt idx="194">
                  <c:v>157.97405219999999</c:v>
                </c:pt>
                <c:pt idx="195">
                  <c:v>160.9049115</c:v>
                </c:pt>
                <c:pt idx="196">
                  <c:v>160.95731230000001</c:v>
                </c:pt>
                <c:pt idx="197">
                  <c:v>160.7450705</c:v>
                </c:pt>
                <c:pt idx="198">
                  <c:v>160.78955450000001</c:v>
                </c:pt>
                <c:pt idx="199">
                  <c:v>161.65850180000001</c:v>
                </c:pt>
                <c:pt idx="200">
                  <c:v>159.2482569</c:v>
                </c:pt>
                <c:pt idx="201">
                  <c:v>159.53476449999999</c:v>
                </c:pt>
                <c:pt idx="202">
                  <c:v>157.57576900000001</c:v>
                </c:pt>
                <c:pt idx="203">
                  <c:v>159.18850499999999</c:v>
                </c:pt>
                <c:pt idx="204">
                  <c:v>160.5158644</c:v>
                </c:pt>
                <c:pt idx="205">
                  <c:v>162.8422305</c:v>
                </c:pt>
                <c:pt idx="206">
                  <c:v>164.9780313</c:v>
                </c:pt>
                <c:pt idx="207">
                  <c:v>164.7182895</c:v>
                </c:pt>
                <c:pt idx="208">
                  <c:v>165.77817909999999</c:v>
                </c:pt>
                <c:pt idx="209">
                  <c:v>167.03466549999999</c:v>
                </c:pt>
                <c:pt idx="210">
                  <c:v>164.11662369999999</c:v>
                </c:pt>
                <c:pt idx="211">
                  <c:v>165.5983579</c:v>
                </c:pt>
                <c:pt idx="212">
                  <c:v>168.39519949999999</c:v>
                </c:pt>
                <c:pt idx="213">
                  <c:v>169.5052278</c:v>
                </c:pt>
                <c:pt idx="214">
                  <c:v>168.88942499999999</c:v>
                </c:pt>
                <c:pt idx="215">
                  <c:v>168.5637112</c:v>
                </c:pt>
                <c:pt idx="216">
                  <c:v>170.16683409999999</c:v>
                </c:pt>
                <c:pt idx="217">
                  <c:v>170.3089569</c:v>
                </c:pt>
                <c:pt idx="218">
                  <c:v>170.05807429999999</c:v>
                </c:pt>
                <c:pt idx="219">
                  <c:v>168.72807599999999</c:v>
                </c:pt>
                <c:pt idx="220">
                  <c:v>166.12915079999999</c:v>
                </c:pt>
                <c:pt idx="221">
                  <c:v>167.73547809999999</c:v>
                </c:pt>
                <c:pt idx="222">
                  <c:v>169.62397770000001</c:v>
                </c:pt>
                <c:pt idx="223">
                  <c:v>169.69617</c:v>
                </c:pt>
                <c:pt idx="224">
                  <c:v>167.48176810000001</c:v>
                </c:pt>
                <c:pt idx="225">
                  <c:v>167.8138907</c:v>
                </c:pt>
                <c:pt idx="226">
                  <c:v>170.96095009999999</c:v>
                </c:pt>
                <c:pt idx="227">
                  <c:v>172.32902379999999</c:v>
                </c:pt>
                <c:pt idx="228">
                  <c:v>173.60058960000001</c:v>
                </c:pt>
                <c:pt idx="229">
                  <c:v>173.58419079999999</c:v>
                </c:pt>
                <c:pt idx="230">
                  <c:v>174.02884299999999</c:v>
                </c:pt>
                <c:pt idx="231">
                  <c:v>174.36511239999999</c:v>
                </c:pt>
                <c:pt idx="232">
                  <c:v>176.7284229</c:v>
                </c:pt>
                <c:pt idx="233">
                  <c:v>176.148999</c:v>
                </c:pt>
                <c:pt idx="234">
                  <c:v>176.3717963</c:v>
                </c:pt>
                <c:pt idx="235">
                  <c:v>177.52348140000001</c:v>
                </c:pt>
                <c:pt idx="236">
                  <c:v>177.59397730000001</c:v>
                </c:pt>
                <c:pt idx="237">
                  <c:v>175.69869209999999</c:v>
                </c:pt>
                <c:pt idx="238">
                  <c:v>173.6411153</c:v>
                </c:pt>
                <c:pt idx="239">
                  <c:v>175.97803690000001</c:v>
                </c:pt>
                <c:pt idx="240">
                  <c:v>175.83836450000001</c:v>
                </c:pt>
                <c:pt idx="241">
                  <c:v>174.2171463</c:v>
                </c:pt>
                <c:pt idx="242">
                  <c:v>170.9569918</c:v>
                </c:pt>
                <c:pt idx="243">
                  <c:v>169.39420609999999</c:v>
                </c:pt>
                <c:pt idx="244">
                  <c:v>170.39509770000001</c:v>
                </c:pt>
                <c:pt idx="245">
                  <c:v>169.8320726</c:v>
                </c:pt>
                <c:pt idx="246">
                  <c:v>168.05516019999999</c:v>
                </c:pt>
                <c:pt idx="247">
                  <c:v>170.80318249999999</c:v>
                </c:pt>
                <c:pt idx="248">
                  <c:v>170.26711180000001</c:v>
                </c:pt>
                <c:pt idx="249">
                  <c:v>173.50577820000001</c:v>
                </c:pt>
                <c:pt idx="250">
                  <c:v>175.98237219999999</c:v>
                </c:pt>
                <c:pt idx="251">
                  <c:v>176.38065549999999</c:v>
                </c:pt>
                <c:pt idx="252">
                  <c:v>177.96115940000001</c:v>
                </c:pt>
                <c:pt idx="253">
                  <c:v>177.14291639999999</c:v>
                </c:pt>
                <c:pt idx="254">
                  <c:v>177.18457309999999</c:v>
                </c:pt>
                <c:pt idx="255">
                  <c:v>180.20308109999999</c:v>
                </c:pt>
                <c:pt idx="256">
                  <c:v>180.34708879999999</c:v>
                </c:pt>
                <c:pt idx="257">
                  <c:v>179.6002842</c:v>
                </c:pt>
                <c:pt idx="258">
                  <c:v>178.5520812</c:v>
                </c:pt>
                <c:pt idx="259">
                  <c:v>178.7279441</c:v>
                </c:pt>
                <c:pt idx="260">
                  <c:v>179.6790738</c:v>
                </c:pt>
                <c:pt idx="261">
                  <c:v>178.3400279</c:v>
                </c:pt>
                <c:pt idx="262">
                  <c:v>180.21420209999999</c:v>
                </c:pt>
                <c:pt idx="263">
                  <c:v>177.52555480000001</c:v>
                </c:pt>
                <c:pt idx="264">
                  <c:v>176.8876985</c:v>
                </c:pt>
                <c:pt idx="265">
                  <c:v>176.4049709</c:v>
                </c:pt>
                <c:pt idx="266">
                  <c:v>179.40726860000001</c:v>
                </c:pt>
                <c:pt idx="267">
                  <c:v>180.34444999999999</c:v>
                </c:pt>
                <c:pt idx="268">
                  <c:v>181.8357972</c:v>
                </c:pt>
                <c:pt idx="269">
                  <c:v>180.7399058</c:v>
                </c:pt>
                <c:pt idx="270">
                  <c:v>179.62082989999999</c:v>
                </c:pt>
                <c:pt idx="271">
                  <c:v>179.7885876</c:v>
                </c:pt>
                <c:pt idx="272">
                  <c:v>178.8940054</c:v>
                </c:pt>
                <c:pt idx="273">
                  <c:v>178.89230900000001</c:v>
                </c:pt>
                <c:pt idx="274">
                  <c:v>180.400432</c:v>
                </c:pt>
                <c:pt idx="275">
                  <c:v>180.33747579999999</c:v>
                </c:pt>
                <c:pt idx="276">
                  <c:v>180.24172189999999</c:v>
                </c:pt>
                <c:pt idx="277">
                  <c:v>180.79419139999999</c:v>
                </c:pt>
                <c:pt idx="278">
                  <c:v>180.0786765</c:v>
                </c:pt>
                <c:pt idx="279">
                  <c:v>180.18083909999999</c:v>
                </c:pt>
                <c:pt idx="280">
                  <c:v>177.5937888</c:v>
                </c:pt>
                <c:pt idx="281">
                  <c:v>179.8875458</c:v>
                </c:pt>
                <c:pt idx="282">
                  <c:v>179.8127145</c:v>
                </c:pt>
                <c:pt idx="283">
                  <c:v>180.37460859999999</c:v>
                </c:pt>
                <c:pt idx="284">
                  <c:v>181.78773179999999</c:v>
                </c:pt>
                <c:pt idx="285">
                  <c:v>182.3432172</c:v>
                </c:pt>
                <c:pt idx="286">
                  <c:v>182.54509200000001</c:v>
                </c:pt>
                <c:pt idx="287">
                  <c:v>183.20632130000001</c:v>
                </c:pt>
                <c:pt idx="288">
                  <c:v>184.5325497</c:v>
                </c:pt>
                <c:pt idx="289">
                  <c:v>186.5701463</c:v>
                </c:pt>
                <c:pt idx="290">
                  <c:v>187.22402439999999</c:v>
                </c:pt>
                <c:pt idx="291">
                  <c:v>185.96452210000001</c:v>
                </c:pt>
                <c:pt idx="292">
                  <c:v>186.4065354</c:v>
                </c:pt>
                <c:pt idx="293">
                  <c:v>188.467128</c:v>
                </c:pt>
                <c:pt idx="294">
                  <c:v>187.9193707</c:v>
                </c:pt>
                <c:pt idx="295">
                  <c:v>186.7313068</c:v>
                </c:pt>
                <c:pt idx="296">
                  <c:v>188.0364242</c:v>
                </c:pt>
                <c:pt idx="297">
                  <c:v>188.07412249999999</c:v>
                </c:pt>
                <c:pt idx="298">
                  <c:v>187.67470839999999</c:v>
                </c:pt>
                <c:pt idx="299">
                  <c:v>187.75349790000001</c:v>
                </c:pt>
                <c:pt idx="300">
                  <c:v>186.44178339999999</c:v>
                </c:pt>
                <c:pt idx="301">
                  <c:v>184.1116475</c:v>
                </c:pt>
                <c:pt idx="302">
                  <c:v>182.0316402</c:v>
                </c:pt>
                <c:pt idx="303">
                  <c:v>181.5296865</c:v>
                </c:pt>
                <c:pt idx="304">
                  <c:v>177.60924510000001</c:v>
                </c:pt>
                <c:pt idx="305">
                  <c:v>175.28118269999999</c:v>
                </c:pt>
                <c:pt idx="306">
                  <c:v>178.1594528</c:v>
                </c:pt>
                <c:pt idx="307">
                  <c:v>177.74250889999999</c:v>
                </c:pt>
                <c:pt idx="308">
                  <c:v>176.8890179</c:v>
                </c:pt>
                <c:pt idx="309">
                  <c:v>176.44191530000001</c:v>
                </c:pt>
                <c:pt idx="310">
                  <c:v>179.24836999999999</c:v>
                </c:pt>
                <c:pt idx="311">
                  <c:v>176.6931749</c:v>
                </c:pt>
                <c:pt idx="312">
                  <c:v>171.91377629999999</c:v>
                </c:pt>
                <c:pt idx="313">
                  <c:v>171.65328059999999</c:v>
                </c:pt>
                <c:pt idx="314">
                  <c:v>173.4592207</c:v>
                </c:pt>
                <c:pt idx="315">
                  <c:v>173.8967103</c:v>
                </c:pt>
                <c:pt idx="316">
                  <c:v>175.2868374</c:v>
                </c:pt>
                <c:pt idx="317">
                  <c:v>176.02308650000001</c:v>
                </c:pt>
                <c:pt idx="318">
                  <c:v>175.4870157</c:v>
                </c:pt>
                <c:pt idx="319">
                  <c:v>176.4098717</c:v>
                </c:pt>
                <c:pt idx="320">
                  <c:v>178.89513629999999</c:v>
                </c:pt>
                <c:pt idx="321">
                  <c:v>177.3259419</c:v>
                </c:pt>
                <c:pt idx="322">
                  <c:v>176.70467289999999</c:v>
                </c:pt>
                <c:pt idx="323">
                  <c:v>177.7717251</c:v>
                </c:pt>
                <c:pt idx="324">
                  <c:v>179.31509610000001</c:v>
                </c:pt>
                <c:pt idx="325">
                  <c:v>178.6357716</c:v>
                </c:pt>
                <c:pt idx="326">
                  <c:v>177.86540550000001</c:v>
                </c:pt>
                <c:pt idx="327">
                  <c:v>178.34813310000001</c:v>
                </c:pt>
                <c:pt idx="328">
                  <c:v>180.34331900000001</c:v>
                </c:pt>
                <c:pt idx="329">
                  <c:v>181.0132189</c:v>
                </c:pt>
                <c:pt idx="330">
                  <c:v>181.5353413</c:v>
                </c:pt>
                <c:pt idx="331">
                  <c:v>180.99361579999999</c:v>
                </c:pt>
                <c:pt idx="332">
                  <c:v>182.69381200000001</c:v>
                </c:pt>
                <c:pt idx="333">
                  <c:v>186.6572295</c:v>
                </c:pt>
                <c:pt idx="334">
                  <c:v>186.56015619999999</c:v>
                </c:pt>
                <c:pt idx="335">
                  <c:v>188.1131403</c:v>
                </c:pt>
                <c:pt idx="336">
                  <c:v>188.20361639999999</c:v>
                </c:pt>
                <c:pt idx="337">
                  <c:v>188.52763379999999</c:v>
                </c:pt>
                <c:pt idx="338">
                  <c:v>187.04043340000001</c:v>
                </c:pt>
                <c:pt idx="339">
                  <c:v>188.51217750000001</c:v>
                </c:pt>
                <c:pt idx="340">
                  <c:v>192.477103</c:v>
                </c:pt>
                <c:pt idx="341">
                  <c:v>191.15766020000001</c:v>
                </c:pt>
                <c:pt idx="342">
                  <c:v>190.97105329999999</c:v>
                </c:pt>
                <c:pt idx="343">
                  <c:v>188.89575840000001</c:v>
                </c:pt>
                <c:pt idx="344">
                  <c:v>190.68567669999999</c:v>
                </c:pt>
                <c:pt idx="345">
                  <c:v>190.9497537</c:v>
                </c:pt>
                <c:pt idx="346">
                  <c:v>191.55537799999999</c:v>
                </c:pt>
                <c:pt idx="347">
                  <c:v>192.19907749999999</c:v>
                </c:pt>
                <c:pt idx="348">
                  <c:v>193.37357009999999</c:v>
                </c:pt>
                <c:pt idx="349">
                  <c:v>194.10284490000001</c:v>
                </c:pt>
                <c:pt idx="350">
                  <c:v>192.0776888</c:v>
                </c:pt>
                <c:pt idx="351">
                  <c:v>195.41700990000001</c:v>
                </c:pt>
                <c:pt idx="352">
                  <c:v>198.3363712</c:v>
                </c:pt>
                <c:pt idx="353">
                  <c:v>199.00890999999999</c:v>
                </c:pt>
                <c:pt idx="354">
                  <c:v>196.24071910000001</c:v>
                </c:pt>
                <c:pt idx="355">
                  <c:v>196.97828759999999</c:v>
                </c:pt>
                <c:pt idx="356">
                  <c:v>197.4319874</c:v>
                </c:pt>
                <c:pt idx="357">
                  <c:v>196.0752233</c:v>
                </c:pt>
                <c:pt idx="358">
                  <c:v>199.54064539999999</c:v>
                </c:pt>
                <c:pt idx="359">
                  <c:v>199.52273869999999</c:v>
                </c:pt>
                <c:pt idx="360">
                  <c:v>198.13675839999999</c:v>
                </c:pt>
                <c:pt idx="361">
                  <c:v>195.01288339999999</c:v>
                </c:pt>
                <c:pt idx="362">
                  <c:v>198.49376190000001</c:v>
                </c:pt>
                <c:pt idx="363">
                  <c:v>198.80062649999999</c:v>
                </c:pt>
                <c:pt idx="364">
                  <c:v>199.3317965</c:v>
                </c:pt>
                <c:pt idx="365">
                  <c:v>199.51633000000001</c:v>
                </c:pt>
                <c:pt idx="366">
                  <c:v>201.18994889999999</c:v>
                </c:pt>
                <c:pt idx="367">
                  <c:v>200.17360099999999</c:v>
                </c:pt>
                <c:pt idx="368">
                  <c:v>195.84224739999999</c:v>
                </c:pt>
                <c:pt idx="369">
                  <c:v>198.37331560000001</c:v>
                </c:pt>
                <c:pt idx="370">
                  <c:v>200.4687792</c:v>
                </c:pt>
                <c:pt idx="371">
                  <c:v>198.7406861</c:v>
                </c:pt>
                <c:pt idx="372">
                  <c:v>198.02630210000001</c:v>
                </c:pt>
                <c:pt idx="373">
                  <c:v>194.4238465</c:v>
                </c:pt>
                <c:pt idx="374">
                  <c:v>191.5499117</c:v>
                </c:pt>
                <c:pt idx="375">
                  <c:v>189.07727600000001</c:v>
                </c:pt>
                <c:pt idx="376">
                  <c:v>195.6230314</c:v>
                </c:pt>
                <c:pt idx="377">
                  <c:v>193.4919429</c:v>
                </c:pt>
                <c:pt idx="378">
                  <c:v>194.82948089999999</c:v>
                </c:pt>
                <c:pt idx="379">
                  <c:v>194.6675664</c:v>
                </c:pt>
                <c:pt idx="380">
                  <c:v>193.86854959999999</c:v>
                </c:pt>
                <c:pt idx="381">
                  <c:v>190.91224389999999</c:v>
                </c:pt>
                <c:pt idx="382">
                  <c:v>191.9687405</c:v>
                </c:pt>
                <c:pt idx="383">
                  <c:v>186.26799389999999</c:v>
                </c:pt>
                <c:pt idx="384">
                  <c:v>184.17686560000001</c:v>
                </c:pt>
                <c:pt idx="385">
                  <c:v>180.32145399999999</c:v>
                </c:pt>
                <c:pt idx="386">
                  <c:v>179.73882570000001</c:v>
                </c:pt>
                <c:pt idx="387">
                  <c:v>173.63206769999999</c:v>
                </c:pt>
                <c:pt idx="388">
                  <c:v>178.06313349999999</c:v>
                </c:pt>
                <c:pt idx="389">
                  <c:v>181.8876325</c:v>
                </c:pt>
                <c:pt idx="390">
                  <c:v>182.15585630000001</c:v>
                </c:pt>
                <c:pt idx="391">
                  <c:v>185.6996911</c:v>
                </c:pt>
                <c:pt idx="392">
                  <c:v>181.184935</c:v>
                </c:pt>
                <c:pt idx="393">
                  <c:v>182.45518139999999</c:v>
                </c:pt>
                <c:pt idx="394">
                  <c:v>187.8128729</c:v>
                </c:pt>
                <c:pt idx="395">
                  <c:v>188.22623540000001</c:v>
                </c:pt>
                <c:pt idx="396">
                  <c:v>182.89794860000001</c:v>
                </c:pt>
                <c:pt idx="397">
                  <c:v>183.2300712</c:v>
                </c:pt>
                <c:pt idx="398">
                  <c:v>183.4621047</c:v>
                </c:pt>
                <c:pt idx="399">
                  <c:v>184.941577</c:v>
                </c:pt>
                <c:pt idx="400">
                  <c:v>186.83742770000001</c:v>
                </c:pt>
                <c:pt idx="401">
                  <c:v>189.285371</c:v>
                </c:pt>
                <c:pt idx="402">
                  <c:v>189.2789622</c:v>
                </c:pt>
                <c:pt idx="403">
                  <c:v>191.37103300000001</c:v>
                </c:pt>
                <c:pt idx="404">
                  <c:v>191.76686580000001</c:v>
                </c:pt>
                <c:pt idx="405">
                  <c:v>193.7301966</c:v>
                </c:pt>
                <c:pt idx="406">
                  <c:v>198.9193764</c:v>
                </c:pt>
                <c:pt idx="407">
                  <c:v>196.81052990000001</c:v>
                </c:pt>
                <c:pt idx="408">
                  <c:v>196.15759420000001</c:v>
                </c:pt>
                <c:pt idx="409">
                  <c:v>194.39161440000001</c:v>
                </c:pt>
                <c:pt idx="410">
                  <c:v>194.5942431</c:v>
                </c:pt>
                <c:pt idx="411">
                  <c:v>196.97432929999999</c:v>
                </c:pt>
                <c:pt idx="412">
                  <c:v>193.34491929999999</c:v>
                </c:pt>
                <c:pt idx="413">
                  <c:v>193.9345217</c:v>
                </c:pt>
                <c:pt idx="414">
                  <c:v>192.5983032</c:v>
                </c:pt>
                <c:pt idx="415">
                  <c:v>193.41051450000001</c:v>
                </c:pt>
                <c:pt idx="416">
                  <c:v>193.4059906</c:v>
                </c:pt>
                <c:pt idx="417">
                  <c:v>195.0988357</c:v>
                </c:pt>
                <c:pt idx="418">
                  <c:v>193.90304359999999</c:v>
                </c:pt>
                <c:pt idx="419">
                  <c:v>196.1990624</c:v>
                </c:pt>
                <c:pt idx="420">
                  <c:v>198.09095479999999</c:v>
                </c:pt>
                <c:pt idx="421">
                  <c:v>198.3177105</c:v>
                </c:pt>
                <c:pt idx="422">
                  <c:v>198.9940192</c:v>
                </c:pt>
                <c:pt idx="423">
                  <c:v>201.12529620000001</c:v>
                </c:pt>
                <c:pt idx="424">
                  <c:v>200.841239</c:v>
                </c:pt>
                <c:pt idx="425">
                  <c:v>201.3382919</c:v>
                </c:pt>
                <c:pt idx="426">
                  <c:v>199.61660760000001</c:v>
                </c:pt>
                <c:pt idx="427">
                  <c:v>200.7179653</c:v>
                </c:pt>
                <c:pt idx="428">
                  <c:v>200.2346723</c:v>
                </c:pt>
                <c:pt idx="429">
                  <c:v>200.65764799999999</c:v>
                </c:pt>
                <c:pt idx="430">
                  <c:v>202.7353933</c:v>
                </c:pt>
                <c:pt idx="431">
                  <c:v>203.48295189999999</c:v>
                </c:pt>
                <c:pt idx="432">
                  <c:v>205.4583461</c:v>
                </c:pt>
                <c:pt idx="433">
                  <c:v>205.51885200000001</c:v>
                </c:pt>
                <c:pt idx="434">
                  <c:v>206.9789097</c:v>
                </c:pt>
                <c:pt idx="435">
                  <c:v>206.6396244</c:v>
                </c:pt>
                <c:pt idx="436">
                  <c:v>208.2527374</c:v>
                </c:pt>
                <c:pt idx="437">
                  <c:v>207.08503049999999</c:v>
                </c:pt>
                <c:pt idx="438">
                  <c:v>206.38779930000001</c:v>
                </c:pt>
                <c:pt idx="439">
                  <c:v>207.87895810000001</c:v>
                </c:pt>
                <c:pt idx="440">
                  <c:v>208.214662</c:v>
                </c:pt>
                <c:pt idx="441">
                  <c:v>208.9443139</c:v>
                </c:pt>
                <c:pt idx="442">
                  <c:v>207.00887979999999</c:v>
                </c:pt>
                <c:pt idx="443">
                  <c:v>204.26104609999999</c:v>
                </c:pt>
                <c:pt idx="444">
                  <c:v>202.65000649999999</c:v>
                </c:pt>
                <c:pt idx="445">
                  <c:v>205.12490410000001</c:v>
                </c:pt>
                <c:pt idx="446">
                  <c:v>204.9494182</c:v>
                </c:pt>
                <c:pt idx="447">
                  <c:v>206.25566649999999</c:v>
                </c:pt>
                <c:pt idx="448">
                  <c:v>207.40131980000001</c:v>
                </c:pt>
                <c:pt idx="449">
                  <c:v>209.80100920000001</c:v>
                </c:pt>
                <c:pt idx="450">
                  <c:v>209.1527858</c:v>
                </c:pt>
                <c:pt idx="451">
                  <c:v>209.64588040000001</c:v>
                </c:pt>
                <c:pt idx="452">
                  <c:v>208.6824987</c:v>
                </c:pt>
                <c:pt idx="453">
                  <c:v>208.7829649</c:v>
                </c:pt>
                <c:pt idx="454">
                  <c:v>209.23798410000001</c:v>
                </c:pt>
                <c:pt idx="455">
                  <c:v>209.00708159999999</c:v>
                </c:pt>
                <c:pt idx="456">
                  <c:v>211.18076930000001</c:v>
                </c:pt>
                <c:pt idx="457">
                  <c:v>210.56402410000001</c:v>
                </c:pt>
                <c:pt idx="458">
                  <c:v>214.47032859999999</c:v>
                </c:pt>
                <c:pt idx="459">
                  <c:v>214.86766929999999</c:v>
                </c:pt>
                <c:pt idx="460">
                  <c:v>215.64369009999999</c:v>
                </c:pt>
                <c:pt idx="461">
                  <c:v>218.13536350000001</c:v>
                </c:pt>
                <c:pt idx="462">
                  <c:v>217.51013610000001</c:v>
                </c:pt>
                <c:pt idx="463">
                  <c:v>217.54915399999999</c:v>
                </c:pt>
                <c:pt idx="464">
                  <c:v>218.03150450000001</c:v>
                </c:pt>
                <c:pt idx="465">
                  <c:v>218.29200019999999</c:v>
                </c:pt>
                <c:pt idx="466">
                  <c:v>220.8545465</c:v>
                </c:pt>
                <c:pt idx="467">
                  <c:v>220.5375033</c:v>
                </c:pt>
                <c:pt idx="468">
                  <c:v>222.76378020000001</c:v>
                </c:pt>
                <c:pt idx="469">
                  <c:v>222.3867965</c:v>
                </c:pt>
                <c:pt idx="470">
                  <c:v>222.8278674</c:v>
                </c:pt>
                <c:pt idx="471">
                  <c:v>222.46106230000001</c:v>
                </c:pt>
                <c:pt idx="472">
                  <c:v>223.4572416</c:v>
                </c:pt>
                <c:pt idx="473">
                  <c:v>224.2374092</c:v>
                </c:pt>
                <c:pt idx="474">
                  <c:v>222.93285729999999</c:v>
                </c:pt>
                <c:pt idx="475">
                  <c:v>223.66740999999999</c:v>
                </c:pt>
                <c:pt idx="476">
                  <c:v>226.47197969999999</c:v>
                </c:pt>
                <c:pt idx="477">
                  <c:v>225.5153838</c:v>
                </c:pt>
                <c:pt idx="478">
                  <c:v>227.01653260000001</c:v>
                </c:pt>
                <c:pt idx="479">
                  <c:v>226.6031701</c:v>
                </c:pt>
                <c:pt idx="480">
                  <c:v>229.37701569999999</c:v>
                </c:pt>
                <c:pt idx="481">
                  <c:v>229.54533889999999</c:v>
                </c:pt>
                <c:pt idx="482">
                  <c:v>230.5209725</c:v>
                </c:pt>
                <c:pt idx="483">
                  <c:v>232.51031520000001</c:v>
                </c:pt>
                <c:pt idx="484">
                  <c:v>231.6538084</c:v>
                </c:pt>
                <c:pt idx="485">
                  <c:v>229.32518039999999</c:v>
                </c:pt>
                <c:pt idx="486">
                  <c:v>231.04196390000001</c:v>
                </c:pt>
                <c:pt idx="487">
                  <c:v>230.44369090000001</c:v>
                </c:pt>
                <c:pt idx="488">
                  <c:v>234.55356649999999</c:v>
                </c:pt>
                <c:pt idx="489">
                  <c:v>235.10942890000001</c:v>
                </c:pt>
                <c:pt idx="490">
                  <c:v>234.57071930000001</c:v>
                </c:pt>
                <c:pt idx="491">
                  <c:v>231.66851070000001</c:v>
                </c:pt>
                <c:pt idx="492">
                  <c:v>232.60965039999999</c:v>
                </c:pt>
                <c:pt idx="493">
                  <c:v>231.11340229999999</c:v>
                </c:pt>
                <c:pt idx="494">
                  <c:v>232.32578169999999</c:v>
                </c:pt>
                <c:pt idx="495">
                  <c:v>231.95294490000001</c:v>
                </c:pt>
                <c:pt idx="496">
                  <c:v>235.16484550000001</c:v>
                </c:pt>
                <c:pt idx="497">
                  <c:v>234.30551130000001</c:v>
                </c:pt>
                <c:pt idx="498">
                  <c:v>231.62176479999999</c:v>
                </c:pt>
                <c:pt idx="499">
                  <c:v>231.96274650000001</c:v>
                </c:pt>
                <c:pt idx="500">
                  <c:v>232.38515659999999</c:v>
                </c:pt>
                <c:pt idx="501">
                  <c:v>235.85227520000001</c:v>
                </c:pt>
                <c:pt idx="502">
                  <c:v>235.82607479999999</c:v>
                </c:pt>
                <c:pt idx="503">
                  <c:v>236.88521040000001</c:v>
                </c:pt>
                <c:pt idx="504">
                  <c:v>239.1495626</c:v>
                </c:pt>
                <c:pt idx="505">
                  <c:v>239.71013730000001</c:v>
                </c:pt>
                <c:pt idx="506">
                  <c:v>242.01086839999999</c:v>
                </c:pt>
                <c:pt idx="507">
                  <c:v>243.18215660000001</c:v>
                </c:pt>
                <c:pt idx="508">
                  <c:v>242.16580870000001</c:v>
                </c:pt>
                <c:pt idx="509">
                  <c:v>241.1347585</c:v>
                </c:pt>
                <c:pt idx="510">
                  <c:v>236.16875300000001</c:v>
                </c:pt>
                <c:pt idx="511">
                  <c:v>234.323418</c:v>
                </c:pt>
                <c:pt idx="512">
                  <c:v>233.7924366</c:v>
                </c:pt>
                <c:pt idx="513">
                  <c:v>232.96665390000001</c:v>
                </c:pt>
                <c:pt idx="514">
                  <c:v>234.66006440000001</c:v>
                </c:pt>
                <c:pt idx="515">
                  <c:v>234.9789926</c:v>
                </c:pt>
                <c:pt idx="516">
                  <c:v>235.30753379999999</c:v>
                </c:pt>
                <c:pt idx="517">
                  <c:v>229.5711623</c:v>
                </c:pt>
                <c:pt idx="518">
                  <c:v>228.60966550000001</c:v>
                </c:pt>
                <c:pt idx="519">
                  <c:v>230.16886980000001</c:v>
                </c:pt>
                <c:pt idx="520">
                  <c:v>227.4615618</c:v>
                </c:pt>
                <c:pt idx="521">
                  <c:v>228.81191720000001</c:v>
                </c:pt>
                <c:pt idx="522">
                  <c:v>225.36760620000001</c:v>
                </c:pt>
                <c:pt idx="523">
                  <c:v>228.8075819</c:v>
                </c:pt>
                <c:pt idx="524">
                  <c:v>231.4106539</c:v>
                </c:pt>
                <c:pt idx="525">
                  <c:v>230.62388910000001</c:v>
                </c:pt>
                <c:pt idx="526">
                  <c:v>231.35825320000001</c:v>
                </c:pt>
                <c:pt idx="527">
                  <c:v>232.19044460000001</c:v>
                </c:pt>
                <c:pt idx="528">
                  <c:v>231.82703240000001</c:v>
                </c:pt>
                <c:pt idx="529">
                  <c:v>233.1796497</c:v>
                </c:pt>
                <c:pt idx="530">
                  <c:v>232.008927</c:v>
                </c:pt>
                <c:pt idx="531">
                  <c:v>231.05365040000001</c:v>
                </c:pt>
                <c:pt idx="532">
                  <c:v>231.97179410000001</c:v>
                </c:pt>
                <c:pt idx="533">
                  <c:v>229.3986922</c:v>
                </c:pt>
                <c:pt idx="534">
                  <c:v>227.43517299999999</c:v>
                </c:pt>
                <c:pt idx="535">
                  <c:v>228.7806276</c:v>
                </c:pt>
                <c:pt idx="536">
                  <c:v>226.65048150000001</c:v>
                </c:pt>
                <c:pt idx="537">
                  <c:v>229.05865299999999</c:v>
                </c:pt>
                <c:pt idx="538">
                  <c:v>229.61432690000001</c:v>
                </c:pt>
                <c:pt idx="539">
                  <c:v>229.63449550000001</c:v>
                </c:pt>
                <c:pt idx="540">
                  <c:v>230.56432570000001</c:v>
                </c:pt>
                <c:pt idx="541">
                  <c:v>231.28492990000001</c:v>
                </c:pt>
                <c:pt idx="542">
                  <c:v>232.89823139999999</c:v>
                </c:pt>
                <c:pt idx="543">
                  <c:v>234.77975670000001</c:v>
                </c:pt>
                <c:pt idx="544">
                  <c:v>234.9367704</c:v>
                </c:pt>
                <c:pt idx="545">
                  <c:v>234.90114550000001</c:v>
                </c:pt>
                <c:pt idx="546">
                  <c:v>237.01338480000001</c:v>
                </c:pt>
                <c:pt idx="547">
                  <c:v>238.0544251</c:v>
                </c:pt>
                <c:pt idx="548">
                  <c:v>239.61023660000001</c:v>
                </c:pt>
                <c:pt idx="549">
                  <c:v>239.4805542</c:v>
                </c:pt>
                <c:pt idx="550">
                  <c:v>237.41996169999999</c:v>
                </c:pt>
                <c:pt idx="551">
                  <c:v>233.17022510000001</c:v>
                </c:pt>
                <c:pt idx="552">
                  <c:v>233.6429626</c:v>
                </c:pt>
                <c:pt idx="553">
                  <c:v>236.33820710000001</c:v>
                </c:pt>
                <c:pt idx="554">
                  <c:v>237.74680649999999</c:v>
                </c:pt>
                <c:pt idx="555">
                  <c:v>236.73667879999999</c:v>
                </c:pt>
                <c:pt idx="556">
                  <c:v>236.14877279999999</c:v>
                </c:pt>
                <c:pt idx="557">
                  <c:v>236.9336528</c:v>
                </c:pt>
                <c:pt idx="558">
                  <c:v>237.47028900000001</c:v>
                </c:pt>
                <c:pt idx="559">
                  <c:v>234.9686255</c:v>
                </c:pt>
                <c:pt idx="560">
                  <c:v>232.13446250000001</c:v>
                </c:pt>
                <c:pt idx="561">
                  <c:v>230.73736120000001</c:v>
                </c:pt>
                <c:pt idx="562">
                  <c:v>231.225178</c:v>
                </c:pt>
                <c:pt idx="563">
                  <c:v>234.4547968</c:v>
                </c:pt>
                <c:pt idx="564">
                  <c:v>234.72226670000001</c:v>
                </c:pt>
                <c:pt idx="565">
                  <c:v>234.35470770000001</c:v>
                </c:pt>
                <c:pt idx="566">
                  <c:v>231.04290639999999</c:v>
                </c:pt>
                <c:pt idx="567">
                  <c:v>231.69414560000001</c:v>
                </c:pt>
                <c:pt idx="568">
                  <c:v>234.9823854</c:v>
                </c:pt>
                <c:pt idx="569">
                  <c:v>235.04119489999999</c:v>
                </c:pt>
                <c:pt idx="570">
                  <c:v>235.66906109999999</c:v>
                </c:pt>
                <c:pt idx="571">
                  <c:v>235.5182677</c:v>
                </c:pt>
                <c:pt idx="572">
                  <c:v>235.29377389999999</c:v>
                </c:pt>
                <c:pt idx="573">
                  <c:v>232.6132317</c:v>
                </c:pt>
                <c:pt idx="574">
                  <c:v>228.0590809</c:v>
                </c:pt>
                <c:pt idx="575">
                  <c:v>226.4576544</c:v>
                </c:pt>
                <c:pt idx="576">
                  <c:v>229.1500715</c:v>
                </c:pt>
                <c:pt idx="577">
                  <c:v>228.74707599999999</c:v>
                </c:pt>
                <c:pt idx="578">
                  <c:v>230.32079419999999</c:v>
                </c:pt>
                <c:pt idx="579">
                  <c:v>230.62784740000001</c:v>
                </c:pt>
                <c:pt idx="580">
                  <c:v>232.62322180000001</c:v>
                </c:pt>
                <c:pt idx="581">
                  <c:v>232.19327200000001</c:v>
                </c:pt>
                <c:pt idx="582">
                  <c:v>228.7086237</c:v>
                </c:pt>
                <c:pt idx="583">
                  <c:v>229.0256669</c:v>
                </c:pt>
                <c:pt idx="584">
                  <c:v>225.45129650000001</c:v>
                </c:pt>
                <c:pt idx="585">
                  <c:v>228.4164614</c:v>
                </c:pt>
                <c:pt idx="586">
                  <c:v>228.21873339999999</c:v>
                </c:pt>
                <c:pt idx="587">
                  <c:v>232.50428350000001</c:v>
                </c:pt>
                <c:pt idx="588">
                  <c:v>230.47988129999999</c:v>
                </c:pt>
                <c:pt idx="589">
                  <c:v>231.7048897</c:v>
                </c:pt>
                <c:pt idx="590">
                  <c:v>233.9924264</c:v>
                </c:pt>
                <c:pt idx="591">
                  <c:v>234.87475660000001</c:v>
                </c:pt>
                <c:pt idx="592">
                  <c:v>236.71575619999999</c:v>
                </c:pt>
                <c:pt idx="593">
                  <c:v>236.96701580000001</c:v>
                </c:pt>
                <c:pt idx="594">
                  <c:v>235.64286079999999</c:v>
                </c:pt>
                <c:pt idx="595">
                  <c:v>232.23907550000001</c:v>
                </c:pt>
                <c:pt idx="596">
                  <c:v>233.69498630000001</c:v>
                </c:pt>
                <c:pt idx="597">
                  <c:v>227.5135855</c:v>
                </c:pt>
                <c:pt idx="598">
                  <c:v>229.1564803</c:v>
                </c:pt>
                <c:pt idx="599">
                  <c:v>227.1160563</c:v>
                </c:pt>
                <c:pt idx="600">
                  <c:v>228.09338640000001</c:v>
                </c:pt>
                <c:pt idx="601">
                  <c:v>232.47223990000001</c:v>
                </c:pt>
                <c:pt idx="602">
                  <c:v>233.73268469999999</c:v>
                </c:pt>
                <c:pt idx="603">
                  <c:v>235.0460957</c:v>
                </c:pt>
                <c:pt idx="604">
                  <c:v>236.73667879999999</c:v>
                </c:pt>
                <c:pt idx="605">
                  <c:v>238.114554</c:v>
                </c:pt>
                <c:pt idx="606">
                  <c:v>237.13929730000001</c:v>
                </c:pt>
                <c:pt idx="607">
                  <c:v>236.9992479</c:v>
                </c:pt>
                <c:pt idx="608">
                  <c:v>240.1044622</c:v>
                </c:pt>
                <c:pt idx="609">
                  <c:v>242.21839790000001</c:v>
                </c:pt>
                <c:pt idx="610">
                  <c:v>244.30047859999999</c:v>
                </c:pt>
                <c:pt idx="611">
                  <c:v>245.39957440000001</c:v>
                </c:pt>
                <c:pt idx="612">
                  <c:v>244.70724390000001</c:v>
                </c:pt>
                <c:pt idx="613">
                  <c:v>246.25947410000001</c:v>
                </c:pt>
                <c:pt idx="614">
                  <c:v>247.4017345</c:v>
                </c:pt>
                <c:pt idx="615">
                  <c:v>248.03638649999999</c:v>
                </c:pt>
                <c:pt idx="616">
                  <c:v>246.03554579999999</c:v>
                </c:pt>
                <c:pt idx="617">
                  <c:v>243.8624236</c:v>
                </c:pt>
                <c:pt idx="618">
                  <c:v>245.94582370000001</c:v>
                </c:pt>
                <c:pt idx="619">
                  <c:v>245.1059041</c:v>
                </c:pt>
                <c:pt idx="620">
                  <c:v>245.60465350000001</c:v>
                </c:pt>
                <c:pt idx="621">
                  <c:v>245.6244451</c:v>
                </c:pt>
                <c:pt idx="622">
                  <c:v>245.09120179999999</c:v>
                </c:pt>
                <c:pt idx="623">
                  <c:v>249.8621182</c:v>
                </c:pt>
                <c:pt idx="624">
                  <c:v>251.82865340000001</c:v>
                </c:pt>
                <c:pt idx="625">
                  <c:v>250.5781987</c:v>
                </c:pt>
                <c:pt idx="626">
                  <c:v>252.23164890000001</c:v>
                </c:pt>
                <c:pt idx="627">
                  <c:v>253.38578430000001</c:v>
                </c:pt>
                <c:pt idx="628">
                  <c:v>253.38163750000001</c:v>
                </c:pt>
                <c:pt idx="629">
                  <c:v>254.2758427</c:v>
                </c:pt>
                <c:pt idx="630">
                  <c:v>250.9672458</c:v>
                </c:pt>
                <c:pt idx="631">
                  <c:v>249.20070039999999</c:v>
                </c:pt>
                <c:pt idx="632">
                  <c:v>247.25527640000001</c:v>
                </c:pt>
                <c:pt idx="633">
                  <c:v>245.32380069999999</c:v>
                </c:pt>
                <c:pt idx="634">
                  <c:v>247.83149589999999</c:v>
                </c:pt>
                <c:pt idx="635">
                  <c:v>249.47401360000001</c:v>
                </c:pt>
                <c:pt idx="636">
                  <c:v>252.95394959999999</c:v>
                </c:pt>
                <c:pt idx="637">
                  <c:v>247.24208189999999</c:v>
                </c:pt>
                <c:pt idx="638">
                  <c:v>250.52089710000001</c:v>
                </c:pt>
                <c:pt idx="639">
                  <c:v>246.7612393</c:v>
                </c:pt>
                <c:pt idx="640">
                  <c:v>247.03700280000001</c:v>
                </c:pt>
                <c:pt idx="641">
                  <c:v>248.85783380000001</c:v>
                </c:pt>
                <c:pt idx="642">
                  <c:v>251.09862459999999</c:v>
                </c:pt>
                <c:pt idx="643">
                  <c:v>251.38437819999999</c:v>
                </c:pt>
                <c:pt idx="644">
                  <c:v>244.05581620000001</c:v>
                </c:pt>
                <c:pt idx="645">
                  <c:v>244.86067629999999</c:v>
                </c:pt>
                <c:pt idx="646">
                  <c:v>244.03244319999999</c:v>
                </c:pt>
                <c:pt idx="647">
                  <c:v>246.3603172</c:v>
                </c:pt>
                <c:pt idx="648">
                  <c:v>248.312904</c:v>
                </c:pt>
                <c:pt idx="649">
                  <c:v>249.4163351</c:v>
                </c:pt>
                <c:pt idx="650">
                  <c:v>251.06714640000001</c:v>
                </c:pt>
                <c:pt idx="651">
                  <c:v>251.13500350000001</c:v>
                </c:pt>
                <c:pt idx="652">
                  <c:v>249.9056598</c:v>
                </c:pt>
                <c:pt idx="653">
                  <c:v>250.28697880000001</c:v>
                </c:pt>
                <c:pt idx="654">
                  <c:v>248.46501689999999</c:v>
                </c:pt>
                <c:pt idx="655">
                  <c:v>248.2248783</c:v>
                </c:pt>
                <c:pt idx="656">
                  <c:v>246.49452339999999</c:v>
                </c:pt>
                <c:pt idx="657">
                  <c:v>246.05401800000001</c:v>
                </c:pt>
                <c:pt idx="658">
                  <c:v>245.66629030000001</c:v>
                </c:pt>
                <c:pt idx="659">
                  <c:v>242.53676060000001</c:v>
                </c:pt>
                <c:pt idx="660">
                  <c:v>244.6205377</c:v>
                </c:pt>
                <c:pt idx="661">
                  <c:v>244.8919659</c:v>
                </c:pt>
                <c:pt idx="662">
                  <c:v>241.0772685</c:v>
                </c:pt>
                <c:pt idx="663">
                  <c:v>242.00822959999999</c:v>
                </c:pt>
                <c:pt idx="664">
                  <c:v>241.5624464</c:v>
                </c:pt>
                <c:pt idx="665">
                  <c:v>244.93249170000001</c:v>
                </c:pt>
                <c:pt idx="666">
                  <c:v>245.7648715</c:v>
                </c:pt>
                <c:pt idx="667">
                  <c:v>245.16867189999999</c:v>
                </c:pt>
                <c:pt idx="668">
                  <c:v>246.80233050000001</c:v>
                </c:pt>
                <c:pt idx="669">
                  <c:v>243.9025723</c:v>
                </c:pt>
                <c:pt idx="670">
                  <c:v>245.0512415</c:v>
                </c:pt>
                <c:pt idx="671">
                  <c:v>247.8488371</c:v>
                </c:pt>
                <c:pt idx="672">
                  <c:v>251.75683799999999</c:v>
                </c:pt>
                <c:pt idx="673">
                  <c:v>253.94240070000001</c:v>
                </c:pt>
                <c:pt idx="674">
                  <c:v>257.61949909999998</c:v>
                </c:pt>
                <c:pt idx="675">
                  <c:v>255.64203140000001</c:v>
                </c:pt>
                <c:pt idx="676">
                  <c:v>254.0044145</c:v>
                </c:pt>
                <c:pt idx="677">
                  <c:v>255.3131132</c:v>
                </c:pt>
                <c:pt idx="678">
                  <c:v>258.81302929999998</c:v>
                </c:pt>
                <c:pt idx="679">
                  <c:v>256.56809170000002</c:v>
                </c:pt>
                <c:pt idx="680">
                  <c:v>252.5174025</c:v>
                </c:pt>
                <c:pt idx="681">
                  <c:v>254.98099060000001</c:v>
                </c:pt>
                <c:pt idx="682">
                  <c:v>256.59843890000002</c:v>
                </c:pt>
                <c:pt idx="683">
                  <c:v>257.21047190000002</c:v>
                </c:pt>
                <c:pt idx="684">
                  <c:v>256.1575565</c:v>
                </c:pt>
                <c:pt idx="685">
                  <c:v>256.89380560000001</c:v>
                </c:pt>
                <c:pt idx="686">
                  <c:v>258.95345570000001</c:v>
                </c:pt>
                <c:pt idx="687">
                  <c:v>259.87612319999999</c:v>
                </c:pt>
                <c:pt idx="688">
                  <c:v>263.66650520000002</c:v>
                </c:pt>
                <c:pt idx="689">
                  <c:v>263.17661500000003</c:v>
                </c:pt>
                <c:pt idx="690">
                  <c:v>265.5186258</c:v>
                </c:pt>
                <c:pt idx="691">
                  <c:v>267.818603</c:v>
                </c:pt>
                <c:pt idx="692">
                  <c:v>265.42984619999999</c:v>
                </c:pt>
                <c:pt idx="693">
                  <c:v>264.77596799999998</c:v>
                </c:pt>
                <c:pt idx="694">
                  <c:v>269.24416660000003</c:v>
                </c:pt>
                <c:pt idx="695">
                  <c:v>266.58435859999997</c:v>
                </c:pt>
                <c:pt idx="696">
                  <c:v>263.11497809999997</c:v>
                </c:pt>
                <c:pt idx="697">
                  <c:v>260.96654840000002</c:v>
                </c:pt>
                <c:pt idx="698">
                  <c:v>251.29541</c:v>
                </c:pt>
                <c:pt idx="699">
                  <c:v>245.7081355</c:v>
                </c:pt>
                <c:pt idx="700">
                  <c:v>242.1232096</c:v>
                </c:pt>
                <c:pt idx="701">
                  <c:v>243.08621429999999</c:v>
                </c:pt>
                <c:pt idx="702">
                  <c:v>242.08701909999999</c:v>
                </c:pt>
                <c:pt idx="703">
                  <c:v>244.35476420000001</c:v>
                </c:pt>
                <c:pt idx="704">
                  <c:v>248.5287271</c:v>
                </c:pt>
                <c:pt idx="705">
                  <c:v>247.23322279999999</c:v>
                </c:pt>
                <c:pt idx="706">
                  <c:v>247.9713568</c:v>
                </c:pt>
                <c:pt idx="707">
                  <c:v>247.9756921</c:v>
                </c:pt>
                <c:pt idx="708">
                  <c:v>240.72874709999999</c:v>
                </c:pt>
                <c:pt idx="709">
                  <c:v>240.72554270000001</c:v>
                </c:pt>
                <c:pt idx="710">
                  <c:v>242.85173040000001</c:v>
                </c:pt>
                <c:pt idx="711">
                  <c:v>239.30582229999999</c:v>
                </c:pt>
                <c:pt idx="712">
                  <c:v>239.18537610000001</c:v>
                </c:pt>
                <c:pt idx="713">
                  <c:v>238.44931550000001</c:v>
                </c:pt>
                <c:pt idx="714">
                  <c:v>240.55043380000001</c:v>
                </c:pt>
                <c:pt idx="715">
                  <c:v>240.2386683</c:v>
                </c:pt>
                <c:pt idx="716">
                  <c:v>243.9968183</c:v>
                </c:pt>
                <c:pt idx="717">
                  <c:v>243.26867440000001</c:v>
                </c:pt>
                <c:pt idx="718">
                  <c:v>244.32177820000001</c:v>
                </c:pt>
                <c:pt idx="719">
                  <c:v>241.1607703</c:v>
                </c:pt>
                <c:pt idx="720">
                  <c:v>241.3132602</c:v>
                </c:pt>
                <c:pt idx="721">
                  <c:v>245.85421669999999</c:v>
                </c:pt>
                <c:pt idx="722">
                  <c:v>246.45889840000001</c:v>
                </c:pt>
                <c:pt idx="723">
                  <c:v>242.88792090000001</c:v>
                </c:pt>
                <c:pt idx="724">
                  <c:v>235.6366405</c:v>
                </c:pt>
                <c:pt idx="725">
                  <c:v>233.3166832</c:v>
                </c:pt>
                <c:pt idx="726">
                  <c:v>230.44463339999999</c:v>
                </c:pt>
                <c:pt idx="727">
                  <c:v>231.43025710000001</c:v>
                </c:pt>
                <c:pt idx="728">
                  <c:v>232.25170439999999</c:v>
                </c:pt>
                <c:pt idx="729">
                  <c:v>226.10234729999999</c:v>
                </c:pt>
                <c:pt idx="730">
                  <c:v>227.64251400000001</c:v>
                </c:pt>
                <c:pt idx="731">
                  <c:v>226.82068960000001</c:v>
                </c:pt>
                <c:pt idx="732">
                  <c:v>215.65537660000001</c:v>
                </c:pt>
                <c:pt idx="733">
                  <c:v>214.85994120000001</c:v>
                </c:pt>
                <c:pt idx="734">
                  <c:v>207.67915679999999</c:v>
                </c:pt>
                <c:pt idx="735">
                  <c:v>217.72068150000001</c:v>
                </c:pt>
                <c:pt idx="736">
                  <c:v>217.2322992</c:v>
                </c:pt>
                <c:pt idx="737">
                  <c:v>217.95742720000001</c:v>
                </c:pt>
                <c:pt idx="738">
                  <c:v>216.38955229999999</c:v>
                </c:pt>
                <c:pt idx="739">
                  <c:v>208.1530252</c:v>
                </c:pt>
                <c:pt idx="740">
                  <c:v>204.1464431</c:v>
                </c:pt>
                <c:pt idx="741">
                  <c:v>205.5000028</c:v>
                </c:pt>
                <c:pt idx="742">
                  <c:v>213.16709610000001</c:v>
                </c:pt>
                <c:pt idx="743">
                  <c:v>215.25143869999999</c:v>
                </c:pt>
                <c:pt idx="744">
                  <c:v>218.80488650000001</c:v>
                </c:pt>
                <c:pt idx="745">
                  <c:v>221.9983149</c:v>
                </c:pt>
                <c:pt idx="746">
                  <c:v>225.92799239999999</c:v>
                </c:pt>
                <c:pt idx="747">
                  <c:v>225.1859001</c:v>
                </c:pt>
                <c:pt idx="748">
                  <c:v>226.74171150000001</c:v>
                </c:pt>
                <c:pt idx="749">
                  <c:v>231.66304450000001</c:v>
                </c:pt>
                <c:pt idx="750">
                  <c:v>225.12030490000001</c:v>
                </c:pt>
                <c:pt idx="751">
                  <c:v>228.0943288</c:v>
                </c:pt>
                <c:pt idx="752">
                  <c:v>223.6385707</c:v>
                </c:pt>
                <c:pt idx="753">
                  <c:v>222.7515282</c:v>
                </c:pt>
                <c:pt idx="754">
                  <c:v>227.2419688</c:v>
                </c:pt>
                <c:pt idx="755">
                  <c:v>230.1722627</c:v>
                </c:pt>
                <c:pt idx="756">
                  <c:v>229.89178680000001</c:v>
                </c:pt>
                <c:pt idx="757">
                  <c:v>235.99760240000001</c:v>
                </c:pt>
                <c:pt idx="758">
                  <c:v>241.47951</c:v>
                </c:pt>
                <c:pt idx="759">
                  <c:v>238.72074370000001</c:v>
                </c:pt>
                <c:pt idx="760">
                  <c:v>230.4178675</c:v>
                </c:pt>
                <c:pt idx="761">
                  <c:v>232.55423379999999</c:v>
                </c:pt>
                <c:pt idx="762">
                  <c:v>229.57436659999999</c:v>
                </c:pt>
                <c:pt idx="763">
                  <c:v>234.02164260000001</c:v>
                </c:pt>
                <c:pt idx="764">
                  <c:v>233.1879433</c:v>
                </c:pt>
                <c:pt idx="765">
                  <c:v>234.55827880000001</c:v>
                </c:pt>
                <c:pt idx="766">
                  <c:v>235.0932186</c:v>
                </c:pt>
                <c:pt idx="767">
                  <c:v>228.8498041</c:v>
                </c:pt>
                <c:pt idx="768">
                  <c:v>228.8013617</c:v>
                </c:pt>
                <c:pt idx="769">
                  <c:v>233.0744712</c:v>
                </c:pt>
                <c:pt idx="770">
                  <c:v>230.38959370000001</c:v>
                </c:pt>
                <c:pt idx="771">
                  <c:v>230.88080339999999</c:v>
                </c:pt>
                <c:pt idx="772">
                  <c:v>227.76164080000001</c:v>
                </c:pt>
                <c:pt idx="773">
                  <c:v>224.36087140000001</c:v>
                </c:pt>
                <c:pt idx="774">
                  <c:v>219.9249049</c:v>
                </c:pt>
                <c:pt idx="775">
                  <c:v>221.40117280000001</c:v>
                </c:pt>
                <c:pt idx="776">
                  <c:v>219.02391399999999</c:v>
                </c:pt>
                <c:pt idx="777">
                  <c:v>220.26305919999999</c:v>
                </c:pt>
                <c:pt idx="778">
                  <c:v>215.89928509999999</c:v>
                </c:pt>
                <c:pt idx="779">
                  <c:v>219.1292809</c:v>
                </c:pt>
                <c:pt idx="780">
                  <c:v>220.8997846</c:v>
                </c:pt>
                <c:pt idx="781">
                  <c:v>223.90340169999999</c:v>
                </c:pt>
                <c:pt idx="782">
                  <c:v>230.590149</c:v>
                </c:pt>
                <c:pt idx="783">
                  <c:v>231.80856019999999</c:v>
                </c:pt>
                <c:pt idx="784">
                  <c:v>231.49302489999999</c:v>
                </c:pt>
                <c:pt idx="785">
                  <c:v>229.70706490000001</c:v>
                </c:pt>
                <c:pt idx="786">
                  <c:v>232.56535479999999</c:v>
                </c:pt>
                <c:pt idx="787">
                  <c:v>229.49105320000001</c:v>
                </c:pt>
                <c:pt idx="788">
                  <c:v>225.66598870000001</c:v>
                </c:pt>
                <c:pt idx="789">
                  <c:v>226.89307049999999</c:v>
                </c:pt>
                <c:pt idx="790">
                  <c:v>224.84831120000001</c:v>
                </c:pt>
                <c:pt idx="791">
                  <c:v>223.56185450000001</c:v>
                </c:pt>
                <c:pt idx="792">
                  <c:v>220.90675880000001</c:v>
                </c:pt>
                <c:pt idx="793">
                  <c:v>224.70599989999999</c:v>
                </c:pt>
                <c:pt idx="794">
                  <c:v>223.68475119999999</c:v>
                </c:pt>
                <c:pt idx="795">
                  <c:v>223.30795610000001</c:v>
                </c:pt>
                <c:pt idx="796">
                  <c:v>228.31335630000001</c:v>
                </c:pt>
                <c:pt idx="797">
                  <c:v>227.791988</c:v>
                </c:pt>
                <c:pt idx="798">
                  <c:v>228.59138179999999</c:v>
                </c:pt>
                <c:pt idx="799">
                  <c:v>227.2760859</c:v>
                </c:pt>
                <c:pt idx="800">
                  <c:v>226.47933090000001</c:v>
                </c:pt>
                <c:pt idx="801">
                  <c:v>226.68949929999999</c:v>
                </c:pt>
                <c:pt idx="802">
                  <c:v>227.71753369999999</c:v>
                </c:pt>
                <c:pt idx="803">
                  <c:v>227.61367469999999</c:v>
                </c:pt>
                <c:pt idx="804">
                  <c:v>229.87896939999999</c:v>
                </c:pt>
                <c:pt idx="805">
                  <c:v>231.52488</c:v>
                </c:pt>
                <c:pt idx="806">
                  <c:v>230.32757989999999</c:v>
                </c:pt>
                <c:pt idx="807">
                  <c:v>230.02900890000001</c:v>
                </c:pt>
                <c:pt idx="808">
                  <c:v>229.07806769999999</c:v>
                </c:pt>
                <c:pt idx="809">
                  <c:v>231.76143719999999</c:v>
                </c:pt>
                <c:pt idx="810">
                  <c:v>231.58142749999999</c:v>
                </c:pt>
                <c:pt idx="811">
                  <c:v>231.7139373</c:v>
                </c:pt>
                <c:pt idx="812">
                  <c:v>234.1801643</c:v>
                </c:pt>
                <c:pt idx="813">
                  <c:v>230.95186480000001</c:v>
                </c:pt>
                <c:pt idx="814">
                  <c:v>235.79271180000001</c:v>
                </c:pt>
                <c:pt idx="815">
                  <c:v>235.9061839</c:v>
                </c:pt>
                <c:pt idx="816">
                  <c:v>238.021816</c:v>
                </c:pt>
                <c:pt idx="817">
                  <c:v>239.55425450000001</c:v>
                </c:pt>
                <c:pt idx="818">
                  <c:v>240.19757709999999</c:v>
                </c:pt>
                <c:pt idx="819">
                  <c:v>239.93990880000001</c:v>
                </c:pt>
                <c:pt idx="820">
                  <c:v>241.7119204</c:v>
                </c:pt>
                <c:pt idx="821">
                  <c:v>244.3700321</c:v>
                </c:pt>
                <c:pt idx="822">
                  <c:v>245.6728875</c:v>
                </c:pt>
                <c:pt idx="823">
                  <c:v>242.43799089999999</c:v>
                </c:pt>
                <c:pt idx="824">
                  <c:v>245.4727092</c:v>
                </c:pt>
                <c:pt idx="825">
                  <c:v>245.00732289999999</c:v>
                </c:pt>
                <c:pt idx="826">
                  <c:v>247.5845716</c:v>
                </c:pt>
                <c:pt idx="827">
                  <c:v>248.933796</c:v>
                </c:pt>
                <c:pt idx="828">
                  <c:v>247.9741842</c:v>
                </c:pt>
                <c:pt idx="829">
                  <c:v>248.5890445</c:v>
                </c:pt>
                <c:pt idx="830">
                  <c:v>251.47994349999999</c:v>
                </c:pt>
                <c:pt idx="831">
                  <c:v>250.9548053</c:v>
                </c:pt>
                <c:pt idx="832">
                  <c:v>246.95331250000001</c:v>
                </c:pt>
                <c:pt idx="833">
                  <c:v>249.38052160000001</c:v>
                </c:pt>
                <c:pt idx="834">
                  <c:v>247.9353548</c:v>
                </c:pt>
                <c:pt idx="835">
                  <c:v>249.90679080000001</c:v>
                </c:pt>
                <c:pt idx="836">
                  <c:v>246.04157749999999</c:v>
                </c:pt>
                <c:pt idx="837">
                  <c:v>249.73846760000001</c:v>
                </c:pt>
                <c:pt idx="838">
                  <c:v>252.04221459999999</c:v>
                </c:pt>
                <c:pt idx="839">
                  <c:v>252.76338430000001</c:v>
                </c:pt>
                <c:pt idx="840">
                  <c:v>251.078079</c:v>
                </c:pt>
                <c:pt idx="841">
                  <c:v>250.60364509999999</c:v>
                </c:pt>
                <c:pt idx="842">
                  <c:v>249.7806898</c:v>
                </c:pt>
                <c:pt idx="843">
                  <c:v>246.8471916</c:v>
                </c:pt>
                <c:pt idx="844">
                  <c:v>250.0553223</c:v>
                </c:pt>
                <c:pt idx="845">
                  <c:v>253.7676688</c:v>
                </c:pt>
                <c:pt idx="846">
                  <c:v>251.9144172</c:v>
                </c:pt>
                <c:pt idx="847">
                  <c:v>253.1245347</c:v>
                </c:pt>
                <c:pt idx="848">
                  <c:v>251.29861439999999</c:v>
                </c:pt>
                <c:pt idx="849">
                  <c:v>248.25824130000001</c:v>
                </c:pt>
                <c:pt idx="850">
                  <c:v>246.27436489999999</c:v>
                </c:pt>
                <c:pt idx="851">
                  <c:v>250.23363560000001</c:v>
                </c:pt>
                <c:pt idx="852">
                  <c:v>249.6781502</c:v>
                </c:pt>
                <c:pt idx="853">
                  <c:v>247.620385</c:v>
                </c:pt>
                <c:pt idx="854">
                  <c:v>249.2549861</c:v>
                </c:pt>
                <c:pt idx="855">
                  <c:v>251.4428106</c:v>
                </c:pt>
                <c:pt idx="856">
                  <c:v>251.35893179999999</c:v>
                </c:pt>
                <c:pt idx="857">
                  <c:v>251.70632219999999</c:v>
                </c:pt>
                <c:pt idx="858">
                  <c:v>251.59153069999999</c:v>
                </c:pt>
                <c:pt idx="859">
                  <c:v>250.86037089999999</c:v>
                </c:pt>
                <c:pt idx="860">
                  <c:v>252.5428489</c:v>
                </c:pt>
                <c:pt idx="861">
                  <c:v>250.81588679999999</c:v>
                </c:pt>
                <c:pt idx="862">
                  <c:v>251.7183857</c:v>
                </c:pt>
                <c:pt idx="863">
                  <c:v>250.69676000000001</c:v>
                </c:pt>
                <c:pt idx="864">
                  <c:v>255.34873809999999</c:v>
                </c:pt>
                <c:pt idx="865">
                  <c:v>254.38215210000001</c:v>
                </c:pt>
                <c:pt idx="866">
                  <c:v>253.57371069999999</c:v>
                </c:pt>
                <c:pt idx="867">
                  <c:v>254.78722099999999</c:v>
                </c:pt>
                <c:pt idx="868">
                  <c:v>256.48534380000001</c:v>
                </c:pt>
                <c:pt idx="869">
                  <c:v>258.3523553</c:v>
                </c:pt>
                <c:pt idx="870">
                  <c:v>253.73411719999999</c:v>
                </c:pt>
                <c:pt idx="871">
                  <c:v>253.2159532</c:v>
                </c:pt>
                <c:pt idx="872">
                  <c:v>252.03486340000001</c:v>
                </c:pt>
                <c:pt idx="873">
                  <c:v>251.06318809999999</c:v>
                </c:pt>
                <c:pt idx="874">
                  <c:v>253.20445520000001</c:v>
                </c:pt>
                <c:pt idx="875">
                  <c:v>254.69712190000001</c:v>
                </c:pt>
                <c:pt idx="876">
                  <c:v>253.06949499999999</c:v>
                </c:pt>
                <c:pt idx="877">
                  <c:v>252.69345390000001</c:v>
                </c:pt>
                <c:pt idx="878">
                  <c:v>253.622907</c:v>
                </c:pt>
                <c:pt idx="879">
                  <c:v>254.5423701</c:v>
                </c:pt>
                <c:pt idx="880">
                  <c:v>254.37253899999999</c:v>
                </c:pt>
                <c:pt idx="881">
                  <c:v>252.4957259</c:v>
                </c:pt>
                <c:pt idx="882">
                  <c:v>253.1168065</c:v>
                </c:pt>
                <c:pt idx="883">
                  <c:v>253.3022824</c:v>
                </c:pt>
                <c:pt idx="884">
                  <c:v>254.37178499999999</c:v>
                </c:pt>
                <c:pt idx="885">
                  <c:v>254.84244910000001</c:v>
                </c:pt>
                <c:pt idx="886">
                  <c:v>257.04648400000002</c:v>
                </c:pt>
                <c:pt idx="887">
                  <c:v>257.0404522</c:v>
                </c:pt>
                <c:pt idx="888">
                  <c:v>258.71802939999998</c:v>
                </c:pt>
                <c:pt idx="889">
                  <c:v>258.35178980000001</c:v>
                </c:pt>
                <c:pt idx="890">
                  <c:v>257.5271381</c:v>
                </c:pt>
                <c:pt idx="891">
                  <c:v>254.2681145</c:v>
                </c:pt>
                <c:pt idx="892">
                  <c:v>254.9855144</c:v>
                </c:pt>
                <c:pt idx="893">
                  <c:v>251.69444720000001</c:v>
                </c:pt>
                <c:pt idx="894">
                  <c:v>251.80452639999999</c:v>
                </c:pt>
                <c:pt idx="895">
                  <c:v>250.84095629999999</c:v>
                </c:pt>
                <c:pt idx="896">
                  <c:v>246.90336210000001</c:v>
                </c:pt>
                <c:pt idx="897">
                  <c:v>247.4592245</c:v>
                </c:pt>
                <c:pt idx="898">
                  <c:v>242.239509</c:v>
                </c:pt>
                <c:pt idx="899">
                  <c:v>242.87133360000001</c:v>
                </c:pt>
                <c:pt idx="900">
                  <c:v>239.5131633</c:v>
                </c:pt>
                <c:pt idx="901">
                  <c:v>238.1471631</c:v>
                </c:pt>
                <c:pt idx="902">
                  <c:v>241.006584</c:v>
                </c:pt>
                <c:pt idx="903">
                  <c:v>236.50313740000001</c:v>
                </c:pt>
                <c:pt idx="904">
                  <c:v>237.36718400000001</c:v>
                </c:pt>
                <c:pt idx="905">
                  <c:v>235.2055598</c:v>
                </c:pt>
                <c:pt idx="906">
                  <c:v>236.56477430000001</c:v>
                </c:pt>
                <c:pt idx="907">
                  <c:v>236.8552402</c:v>
                </c:pt>
                <c:pt idx="908">
                  <c:v>235.81005300000001</c:v>
                </c:pt>
                <c:pt idx="909">
                  <c:v>234.77560990000001</c:v>
                </c:pt>
                <c:pt idx="910">
                  <c:v>231.07099170000001</c:v>
                </c:pt>
                <c:pt idx="911">
                  <c:v>228.36066779999999</c:v>
                </c:pt>
                <c:pt idx="912">
                  <c:v>229.82619170000001</c:v>
                </c:pt>
                <c:pt idx="913">
                  <c:v>236.19570730000001</c:v>
                </c:pt>
                <c:pt idx="914">
                  <c:v>236.5783457</c:v>
                </c:pt>
                <c:pt idx="915">
                  <c:v>233.69102799999999</c:v>
                </c:pt>
                <c:pt idx="916">
                  <c:v>237.42806680000001</c:v>
                </c:pt>
                <c:pt idx="917">
                  <c:v>237.4209041</c:v>
                </c:pt>
                <c:pt idx="918">
                  <c:v>238.2114388</c:v>
                </c:pt>
                <c:pt idx="919">
                  <c:v>235.41082729999999</c:v>
                </c:pt>
                <c:pt idx="920">
                  <c:v>239.75367890000001</c:v>
                </c:pt>
                <c:pt idx="921">
                  <c:v>240.67238800000001</c:v>
                </c:pt>
                <c:pt idx="922">
                  <c:v>242.62346690000001</c:v>
                </c:pt>
                <c:pt idx="923">
                  <c:v>244.01623290000001</c:v>
                </c:pt>
                <c:pt idx="924">
                  <c:v>240.7628641</c:v>
                </c:pt>
                <c:pt idx="925">
                  <c:v>239.7789368</c:v>
                </c:pt>
                <c:pt idx="926">
                  <c:v>238.19032770000001</c:v>
                </c:pt>
                <c:pt idx="927">
                  <c:v>238.01578430000001</c:v>
                </c:pt>
                <c:pt idx="928">
                  <c:v>240.85711000000001</c:v>
                </c:pt>
                <c:pt idx="929">
                  <c:v>240.06224</c:v>
                </c:pt>
                <c:pt idx="930">
                  <c:v>244.0313123</c:v>
                </c:pt>
                <c:pt idx="931">
                  <c:v>246.6221323</c:v>
                </c:pt>
                <c:pt idx="932">
                  <c:v>250.31185970000001</c:v>
                </c:pt>
                <c:pt idx="933">
                  <c:v>250.62532160000001</c:v>
                </c:pt>
                <c:pt idx="934">
                  <c:v>250.8307777</c:v>
                </c:pt>
                <c:pt idx="935">
                  <c:v>249.9239436</c:v>
                </c:pt>
                <c:pt idx="936">
                  <c:v>245.95637919999999</c:v>
                </c:pt>
                <c:pt idx="937">
                  <c:v>249.11964900000001</c:v>
                </c:pt>
                <c:pt idx="938">
                  <c:v>250.47471659999999</c:v>
                </c:pt>
                <c:pt idx="939">
                  <c:v>247.54668469999999</c:v>
                </c:pt>
                <c:pt idx="940">
                  <c:v>249.90829869999999</c:v>
                </c:pt>
                <c:pt idx="941">
                  <c:v>251.34837619999999</c:v>
                </c:pt>
                <c:pt idx="942">
                  <c:v>253.1854175</c:v>
                </c:pt>
                <c:pt idx="943">
                  <c:v>253.51678609999999</c:v>
                </c:pt>
                <c:pt idx="944">
                  <c:v>254.93895689999999</c:v>
                </c:pt>
                <c:pt idx="945">
                  <c:v>253.76088300000001</c:v>
                </c:pt>
                <c:pt idx="946">
                  <c:v>249.4010672</c:v>
                </c:pt>
                <c:pt idx="947">
                  <c:v>249.2800555</c:v>
                </c:pt>
                <c:pt idx="948">
                  <c:v>249.46666239999999</c:v>
                </c:pt>
                <c:pt idx="949">
                  <c:v>249.5139738</c:v>
                </c:pt>
                <c:pt idx="950">
                  <c:v>252.2653889</c:v>
                </c:pt>
                <c:pt idx="951">
                  <c:v>255.4488273</c:v>
                </c:pt>
                <c:pt idx="952">
                  <c:v>257.96500459999999</c:v>
                </c:pt>
                <c:pt idx="953">
                  <c:v>258.38402189999999</c:v>
                </c:pt>
                <c:pt idx="954">
                  <c:v>256.82217869999999</c:v>
                </c:pt>
                <c:pt idx="955">
                  <c:v>257.09059109999998</c:v>
                </c:pt>
                <c:pt idx="956">
                  <c:v>258.49730549999998</c:v>
                </c:pt>
                <c:pt idx="957">
                  <c:v>257.91430029999998</c:v>
                </c:pt>
                <c:pt idx="958">
                  <c:v>257.92542129999998</c:v>
                </c:pt>
                <c:pt idx="959">
                  <c:v>259.41676860000001</c:v>
                </c:pt>
                <c:pt idx="960">
                  <c:v>259.31667950000002</c:v>
                </c:pt>
                <c:pt idx="961">
                  <c:v>258.99756280000003</c:v>
                </c:pt>
                <c:pt idx="962">
                  <c:v>260.36262060000001</c:v>
                </c:pt>
                <c:pt idx="963">
                  <c:v>259.68687740000001</c:v>
                </c:pt>
                <c:pt idx="964">
                  <c:v>259.50215539999999</c:v>
                </c:pt>
                <c:pt idx="965">
                  <c:v>259.37812780000002</c:v>
                </c:pt>
                <c:pt idx="966">
                  <c:v>259.39037980000001</c:v>
                </c:pt>
                <c:pt idx="967">
                  <c:v>260.09194630000002</c:v>
                </c:pt>
                <c:pt idx="968">
                  <c:v>259.89459540000001</c:v>
                </c:pt>
                <c:pt idx="969">
                  <c:v>260.9237607</c:v>
                </c:pt>
                <c:pt idx="970">
                  <c:v>259.27483430000001</c:v>
                </c:pt>
                <c:pt idx="971">
                  <c:v>258.68051960000003</c:v>
                </c:pt>
                <c:pt idx="972">
                  <c:v>258.17649239999997</c:v>
                </c:pt>
                <c:pt idx="973">
                  <c:v>256.65234759999998</c:v>
                </c:pt>
                <c:pt idx="974">
                  <c:v>254.57686409999999</c:v>
                </c:pt>
                <c:pt idx="975">
                  <c:v>255.77586059999999</c:v>
                </c:pt>
                <c:pt idx="976">
                  <c:v>257.8358877</c:v>
                </c:pt>
                <c:pt idx="977">
                  <c:v>257.7097867</c:v>
                </c:pt>
                <c:pt idx="978">
                  <c:v>255.7359003</c:v>
                </c:pt>
                <c:pt idx="979">
                  <c:v>255.3289465</c:v>
                </c:pt>
                <c:pt idx="980">
                  <c:v>257.77274299999999</c:v>
                </c:pt>
                <c:pt idx="981">
                  <c:v>259.005291</c:v>
                </c:pt>
                <c:pt idx="982">
                  <c:v>259.48349469999999</c:v>
                </c:pt>
                <c:pt idx="983">
                  <c:v>261.57745030000001</c:v>
                </c:pt>
                <c:pt idx="984">
                  <c:v>260.95938569999998</c:v>
                </c:pt>
                <c:pt idx="985">
                  <c:v>267.49778989999999</c:v>
                </c:pt>
                <c:pt idx="986">
                  <c:v>267.98089449999998</c:v>
                </c:pt>
                <c:pt idx="987">
                  <c:v>265.5125941</c:v>
                </c:pt>
                <c:pt idx="988">
                  <c:v>266.49859479999998</c:v>
                </c:pt>
                <c:pt idx="989">
                  <c:v>264.07704039999999</c:v>
                </c:pt>
                <c:pt idx="990">
                  <c:v>265.95441890000001</c:v>
                </c:pt>
                <c:pt idx="991">
                  <c:v>262.85240900000002</c:v>
                </c:pt>
                <c:pt idx="992">
                  <c:v>263.78695149999999</c:v>
                </c:pt>
                <c:pt idx="993">
                  <c:v>260.85514970000003</c:v>
                </c:pt>
                <c:pt idx="994">
                  <c:v>262.66184379999999</c:v>
                </c:pt>
                <c:pt idx="995">
                  <c:v>264.87624570000003</c:v>
                </c:pt>
                <c:pt idx="996">
                  <c:v>264.30040320000001</c:v>
                </c:pt>
                <c:pt idx="997">
                  <c:v>265.59270309999999</c:v>
                </c:pt>
                <c:pt idx="998">
                  <c:v>264.5267819</c:v>
                </c:pt>
                <c:pt idx="999">
                  <c:v>266.89065779999999</c:v>
                </c:pt>
                <c:pt idx="1000">
                  <c:v>268.69263960000001</c:v>
                </c:pt>
                <c:pt idx="1001">
                  <c:v>265.71314940000002</c:v>
                </c:pt>
                <c:pt idx="1002">
                  <c:v>265.95046059999999</c:v>
                </c:pt>
                <c:pt idx="1003">
                  <c:v>264.3175559</c:v>
                </c:pt>
                <c:pt idx="1004">
                  <c:v>264.41858760000002</c:v>
                </c:pt>
                <c:pt idx="1005">
                  <c:v>265.3685863</c:v>
                </c:pt>
                <c:pt idx="1006">
                  <c:v>264.87813060000002</c:v>
                </c:pt>
                <c:pt idx="1007">
                  <c:v>265.47564970000002</c:v>
                </c:pt>
                <c:pt idx="1008">
                  <c:v>267.52003200000001</c:v>
                </c:pt>
                <c:pt idx="1009">
                  <c:v>268.95011940000001</c:v>
                </c:pt>
                <c:pt idx="1010">
                  <c:v>266.7302512</c:v>
                </c:pt>
                <c:pt idx="1011">
                  <c:v>265.88241499999998</c:v>
                </c:pt>
                <c:pt idx="1012">
                  <c:v>265.43757429999999</c:v>
                </c:pt>
                <c:pt idx="1013">
                  <c:v>264.43253600000003</c:v>
                </c:pt>
                <c:pt idx="1014">
                  <c:v>265.73067909999997</c:v>
                </c:pt>
                <c:pt idx="1015">
                  <c:v>265.25454880000001</c:v>
                </c:pt>
                <c:pt idx="1016">
                  <c:v>263.73775510000002</c:v>
                </c:pt>
                <c:pt idx="1017">
                  <c:v>265.56292139999999</c:v>
                </c:pt>
                <c:pt idx="1018">
                  <c:v>265.68581810000001</c:v>
                </c:pt>
                <c:pt idx="1019">
                  <c:v>264.47758549999998</c:v>
                </c:pt>
                <c:pt idx="1020">
                  <c:v>264.00974880000001</c:v>
                </c:pt>
                <c:pt idx="1021">
                  <c:v>262.680316</c:v>
                </c:pt>
                <c:pt idx="1022">
                  <c:v>262.35139779999997</c:v>
                </c:pt>
                <c:pt idx="1023">
                  <c:v>264.25139530000001</c:v>
                </c:pt>
                <c:pt idx="1024">
                  <c:v>261.93841220000002</c:v>
                </c:pt>
                <c:pt idx="1025">
                  <c:v>262.4205743</c:v>
                </c:pt>
                <c:pt idx="1026">
                  <c:v>262.18194360000001</c:v>
                </c:pt>
                <c:pt idx="1027">
                  <c:v>262.32199300000002</c:v>
                </c:pt>
                <c:pt idx="1028">
                  <c:v>261.47246039999999</c:v>
                </c:pt>
                <c:pt idx="1029">
                  <c:v>259.9854484</c:v>
                </c:pt>
                <c:pt idx="1030">
                  <c:v>259.33779049999998</c:v>
                </c:pt>
                <c:pt idx="1031">
                  <c:v>258.93837639999998</c:v>
                </c:pt>
                <c:pt idx="1032">
                  <c:v>259.4420265</c:v>
                </c:pt>
                <c:pt idx="1033">
                  <c:v>259.41808809999998</c:v>
                </c:pt>
                <c:pt idx="1034">
                  <c:v>260.74714390000003</c:v>
                </c:pt>
                <c:pt idx="1035">
                  <c:v>261.28246059999998</c:v>
                </c:pt>
                <c:pt idx="1036">
                  <c:v>262.13972139999998</c:v>
                </c:pt>
                <c:pt idx="1037">
                  <c:v>261.98157680000003</c:v>
                </c:pt>
                <c:pt idx="1038">
                  <c:v>261.65510899999998</c:v>
                </c:pt>
                <c:pt idx="1039">
                  <c:v>263.09311309999998</c:v>
                </c:pt>
                <c:pt idx="1040">
                  <c:v>263.60298340000003</c:v>
                </c:pt>
                <c:pt idx="1041">
                  <c:v>263.73982849999999</c:v>
                </c:pt>
                <c:pt idx="1042">
                  <c:v>262.42113970000003</c:v>
                </c:pt>
                <c:pt idx="1043">
                  <c:v>263.63540399999999</c:v>
                </c:pt>
                <c:pt idx="1044">
                  <c:v>264.0093718</c:v>
                </c:pt>
                <c:pt idx="1045">
                  <c:v>265.06436050000002</c:v>
                </c:pt>
                <c:pt idx="1046">
                  <c:v>266.12217659999999</c:v>
                </c:pt>
                <c:pt idx="1047">
                  <c:v>267.40957580000003</c:v>
                </c:pt>
                <c:pt idx="1048">
                  <c:v>270.66369850000001</c:v>
                </c:pt>
                <c:pt idx="1049">
                  <c:v>270.58962129999998</c:v>
                </c:pt>
                <c:pt idx="1050">
                  <c:v>270.39302429999998</c:v>
                </c:pt>
                <c:pt idx="1051">
                  <c:v>270.20905629999999</c:v>
                </c:pt>
                <c:pt idx="1052">
                  <c:v>271.08403529999998</c:v>
                </c:pt>
                <c:pt idx="1053">
                  <c:v>271.51473909999999</c:v>
                </c:pt>
                <c:pt idx="1054">
                  <c:v>271.65818139999999</c:v>
                </c:pt>
                <c:pt idx="1055">
                  <c:v>269.99794539999999</c:v>
                </c:pt>
                <c:pt idx="1056">
                  <c:v>270.43072269999999</c:v>
                </c:pt>
                <c:pt idx="1057">
                  <c:v>271.74526459999998</c:v>
                </c:pt>
                <c:pt idx="1058">
                  <c:v>272.87282269999997</c:v>
                </c:pt>
                <c:pt idx="1059">
                  <c:v>272.54164259999999</c:v>
                </c:pt>
                <c:pt idx="1060">
                  <c:v>274.61147119999998</c:v>
                </c:pt>
                <c:pt idx="1061">
                  <c:v>277.2699599</c:v>
                </c:pt>
                <c:pt idx="1062">
                  <c:v>276.18028870000001</c:v>
                </c:pt>
                <c:pt idx="1063">
                  <c:v>275.12266110000002</c:v>
                </c:pt>
                <c:pt idx="1064">
                  <c:v>274.04109499999998</c:v>
                </c:pt>
                <c:pt idx="1065">
                  <c:v>274.77376270000002</c:v>
                </c:pt>
                <c:pt idx="1066">
                  <c:v>274.00207719999997</c:v>
                </c:pt>
                <c:pt idx="1067">
                  <c:v>273.71142279999998</c:v>
                </c:pt>
                <c:pt idx="1068">
                  <c:v>274.19867410000001</c:v>
                </c:pt>
                <c:pt idx="1069">
                  <c:v>274.94076639999997</c:v>
                </c:pt>
                <c:pt idx="1070">
                  <c:v>275.65741229999998</c:v>
                </c:pt>
                <c:pt idx="1071">
                  <c:v>275.1520658</c:v>
                </c:pt>
                <c:pt idx="1072">
                  <c:v>277.24526739999999</c:v>
                </c:pt>
                <c:pt idx="1073">
                  <c:v>274.33344579999999</c:v>
                </c:pt>
                <c:pt idx="1074">
                  <c:v>273.51162149999999</c:v>
                </c:pt>
                <c:pt idx="1075">
                  <c:v>273.92234509999997</c:v>
                </c:pt>
                <c:pt idx="1076">
                  <c:v>274.5234456</c:v>
                </c:pt>
                <c:pt idx="1077">
                  <c:v>275.20295859999999</c:v>
                </c:pt>
                <c:pt idx="1078">
                  <c:v>274.18001349999997</c:v>
                </c:pt>
                <c:pt idx="1079">
                  <c:v>274.04448780000001</c:v>
                </c:pt>
                <c:pt idx="1080">
                  <c:v>274.85519119999998</c:v>
                </c:pt>
                <c:pt idx="1081">
                  <c:v>273.58890309999998</c:v>
                </c:pt>
                <c:pt idx="1082">
                  <c:v>274.68912990000001</c:v>
                </c:pt>
                <c:pt idx="1083">
                  <c:v>276.93859120000002</c:v>
                </c:pt>
                <c:pt idx="1084">
                  <c:v>276.2259037</c:v>
                </c:pt>
                <c:pt idx="1085">
                  <c:v>274.63032040000002</c:v>
                </c:pt>
                <c:pt idx="1086">
                  <c:v>274.92606410000002</c:v>
                </c:pt>
                <c:pt idx="1087">
                  <c:v>275.37919840000001</c:v>
                </c:pt>
                <c:pt idx="1088">
                  <c:v>275.20446650000002</c:v>
                </c:pt>
                <c:pt idx="1089">
                  <c:v>274.91550849999999</c:v>
                </c:pt>
                <c:pt idx="1090">
                  <c:v>278.12891710000002</c:v>
                </c:pt>
                <c:pt idx="1091">
                  <c:v>277.54346149999998</c:v>
                </c:pt>
                <c:pt idx="1092">
                  <c:v>277.07336290000001</c:v>
                </c:pt>
                <c:pt idx="1093">
                  <c:v>276.1508839</c:v>
                </c:pt>
                <c:pt idx="1094">
                  <c:v>276.63888930000002</c:v>
                </c:pt>
                <c:pt idx="1095">
                  <c:v>278.59185300000001</c:v>
                </c:pt>
                <c:pt idx="1096">
                  <c:v>276.70052609999999</c:v>
                </c:pt>
                <c:pt idx="1097">
                  <c:v>278.39167470000001</c:v>
                </c:pt>
                <c:pt idx="1098">
                  <c:v>279.73015509999999</c:v>
                </c:pt>
                <c:pt idx="1099">
                  <c:v>276.95630949999997</c:v>
                </c:pt>
                <c:pt idx="1100">
                  <c:v>277.21360079999999</c:v>
                </c:pt>
                <c:pt idx="1101">
                  <c:v>281.50857539999998</c:v>
                </c:pt>
                <c:pt idx="1102">
                  <c:v>280.87071909999997</c:v>
                </c:pt>
                <c:pt idx="1103">
                  <c:v>277.85089169999998</c:v>
                </c:pt>
                <c:pt idx="1104">
                  <c:v>278.89928320000001</c:v>
                </c:pt>
                <c:pt idx="1105">
                  <c:v>282.2303106</c:v>
                </c:pt>
                <c:pt idx="1106">
                  <c:v>282.1017592</c:v>
                </c:pt>
                <c:pt idx="1107">
                  <c:v>282.64536959999998</c:v>
                </c:pt>
                <c:pt idx="1108">
                  <c:v>281.84710669999998</c:v>
                </c:pt>
                <c:pt idx="1109">
                  <c:v>282.77486349999998</c:v>
                </c:pt>
                <c:pt idx="1110">
                  <c:v>281.70894220000002</c:v>
                </c:pt>
                <c:pt idx="1111">
                  <c:v>280.57648339999997</c:v>
                </c:pt>
                <c:pt idx="1112">
                  <c:v>279.7789745</c:v>
                </c:pt>
                <c:pt idx="1113">
                  <c:v>277.79641750000002</c:v>
                </c:pt>
                <c:pt idx="1114">
                  <c:v>277.94325270000002</c:v>
                </c:pt>
                <c:pt idx="1115">
                  <c:v>277.33762840000003</c:v>
                </c:pt>
                <c:pt idx="1116">
                  <c:v>277.41095180000002</c:v>
                </c:pt>
                <c:pt idx="1117">
                  <c:v>274.88308790000002</c:v>
                </c:pt>
                <c:pt idx="1118">
                  <c:v>279.0506421</c:v>
                </c:pt>
                <c:pt idx="1119">
                  <c:v>281.57530150000002</c:v>
                </c:pt>
                <c:pt idx="1120">
                  <c:v>285.15683460000002</c:v>
                </c:pt>
                <c:pt idx="1121">
                  <c:v>285.68084190000002</c:v>
                </c:pt>
                <c:pt idx="1122">
                  <c:v>286.45629719999999</c:v>
                </c:pt>
                <c:pt idx="1123">
                  <c:v>286.72565200000003</c:v>
                </c:pt>
                <c:pt idx="1124">
                  <c:v>285.27200310000001</c:v>
                </c:pt>
                <c:pt idx="1125">
                  <c:v>284.45639899999998</c:v>
                </c:pt>
                <c:pt idx="1126">
                  <c:v>283.08700590000001</c:v>
                </c:pt>
                <c:pt idx="1127">
                  <c:v>285.03883869999999</c:v>
                </c:pt>
                <c:pt idx="1128">
                  <c:v>286.02559339999999</c:v>
                </c:pt>
                <c:pt idx="1129">
                  <c:v>288.73384390000001</c:v>
                </c:pt>
                <c:pt idx="1130">
                  <c:v>287.40893490000002</c:v>
                </c:pt>
                <c:pt idx="1131">
                  <c:v>286.63140609999999</c:v>
                </c:pt>
                <c:pt idx="1132">
                  <c:v>288.4497867</c:v>
                </c:pt>
                <c:pt idx="1133">
                  <c:v>290.21670899999998</c:v>
                </c:pt>
                <c:pt idx="1134">
                  <c:v>291.00667829999998</c:v>
                </c:pt>
                <c:pt idx="1135">
                  <c:v>291.88165729999997</c:v>
                </c:pt>
                <c:pt idx="1136">
                  <c:v>291.41042770000001</c:v>
                </c:pt>
                <c:pt idx="1137">
                  <c:v>289.23278169999998</c:v>
                </c:pt>
                <c:pt idx="1138">
                  <c:v>292.18682560000002</c:v>
                </c:pt>
                <c:pt idx="1139">
                  <c:v>293.79767659999999</c:v>
                </c:pt>
                <c:pt idx="1140">
                  <c:v>293.5383119</c:v>
                </c:pt>
                <c:pt idx="1141">
                  <c:v>295.6273668</c:v>
                </c:pt>
                <c:pt idx="1142">
                  <c:v>297.4466898</c:v>
                </c:pt>
                <c:pt idx="1143">
                  <c:v>298.0841691</c:v>
                </c:pt>
                <c:pt idx="1144">
                  <c:v>297.60747329999998</c:v>
                </c:pt>
                <c:pt idx="1145">
                  <c:v>293.6020221</c:v>
                </c:pt>
                <c:pt idx="1146">
                  <c:v>299.35253060000002</c:v>
                </c:pt>
                <c:pt idx="1147">
                  <c:v>301.90621779999998</c:v>
                </c:pt>
                <c:pt idx="1148">
                  <c:v>305.20670960000001</c:v>
                </c:pt>
                <c:pt idx="1149">
                  <c:v>305.45061800000002</c:v>
                </c:pt>
                <c:pt idx="1150">
                  <c:v>305.09135259999999</c:v>
                </c:pt>
                <c:pt idx="1151">
                  <c:v>303.4580709</c:v>
                </c:pt>
                <c:pt idx="1152">
                  <c:v>305.21783060000001</c:v>
                </c:pt>
                <c:pt idx="1153">
                  <c:v>304.83896199999998</c:v>
                </c:pt>
                <c:pt idx="1154">
                  <c:v>302.5631118</c:v>
                </c:pt>
                <c:pt idx="1155">
                  <c:v>303.2201943</c:v>
                </c:pt>
                <c:pt idx="1156">
                  <c:v>305.60612370000001</c:v>
                </c:pt>
                <c:pt idx="1157">
                  <c:v>304.67874399999999</c:v>
                </c:pt>
                <c:pt idx="1158">
                  <c:v>304.43766290000002</c:v>
                </c:pt>
                <c:pt idx="1159">
                  <c:v>299.36930640000003</c:v>
                </c:pt>
                <c:pt idx="1160">
                  <c:v>299.68314520000001</c:v>
                </c:pt>
                <c:pt idx="1161">
                  <c:v>298.20028009999999</c:v>
                </c:pt>
                <c:pt idx="1162">
                  <c:v>299.63357189999999</c:v>
                </c:pt>
                <c:pt idx="1163">
                  <c:v>296.14760419999999</c:v>
                </c:pt>
                <c:pt idx="1164">
                  <c:v>293.45367909999999</c:v>
                </c:pt>
                <c:pt idx="1165">
                  <c:v>288.36496540000002</c:v>
                </c:pt>
                <c:pt idx="1166">
                  <c:v>286.750156</c:v>
                </c:pt>
                <c:pt idx="1167">
                  <c:v>289.31628360000002</c:v>
                </c:pt>
                <c:pt idx="1168">
                  <c:v>286.44234879999999</c:v>
                </c:pt>
                <c:pt idx="1169">
                  <c:v>284.60002980000002</c:v>
                </c:pt>
                <c:pt idx="1170">
                  <c:v>283.42779919999998</c:v>
                </c:pt>
                <c:pt idx="1171">
                  <c:v>281.48143260000001</c:v>
                </c:pt>
                <c:pt idx="1172">
                  <c:v>275.59407909999999</c:v>
                </c:pt>
                <c:pt idx="1173">
                  <c:v>275.92092389999999</c:v>
                </c:pt>
                <c:pt idx="1174">
                  <c:v>271.95826039999997</c:v>
                </c:pt>
                <c:pt idx="1175">
                  <c:v>279.49322089999998</c:v>
                </c:pt>
                <c:pt idx="1176">
                  <c:v>279.32942150000002</c:v>
                </c:pt>
                <c:pt idx="1177">
                  <c:v>279.55165340000002</c:v>
                </c:pt>
                <c:pt idx="1178">
                  <c:v>279.90130570000002</c:v>
                </c:pt>
                <c:pt idx="1179">
                  <c:v>268.90412739999999</c:v>
                </c:pt>
                <c:pt idx="1180">
                  <c:v>267.21486370000002</c:v>
                </c:pt>
                <c:pt idx="1181">
                  <c:v>261.73144819999999</c:v>
                </c:pt>
                <c:pt idx="1182">
                  <c:v>264.78256529999999</c:v>
                </c:pt>
                <c:pt idx="1183">
                  <c:v>268.8059232</c:v>
                </c:pt>
                <c:pt idx="1184">
                  <c:v>273.49578819999999</c:v>
                </c:pt>
                <c:pt idx="1185">
                  <c:v>278.58751769999998</c:v>
                </c:pt>
                <c:pt idx="1186">
                  <c:v>277.31708279999998</c:v>
                </c:pt>
                <c:pt idx="1187">
                  <c:v>277.28541619999999</c:v>
                </c:pt>
                <c:pt idx="1188">
                  <c:v>272.28114690000001</c:v>
                </c:pt>
                <c:pt idx="1189">
                  <c:v>273.2273758</c:v>
                </c:pt>
                <c:pt idx="1190">
                  <c:v>273.97041059999998</c:v>
                </c:pt>
                <c:pt idx="1191">
                  <c:v>268.37446540000002</c:v>
                </c:pt>
                <c:pt idx="1192">
                  <c:v>270.15288570000001</c:v>
                </c:pt>
                <c:pt idx="1193">
                  <c:v>272.8935568</c:v>
                </c:pt>
                <c:pt idx="1194">
                  <c:v>281.4092402</c:v>
                </c:pt>
                <c:pt idx="1195">
                  <c:v>281.218298</c:v>
                </c:pt>
                <c:pt idx="1196">
                  <c:v>280.45584860000002</c:v>
                </c:pt>
                <c:pt idx="1197">
                  <c:v>280.69297130000001</c:v>
                </c:pt>
                <c:pt idx="1198">
                  <c:v>280.7080507</c:v>
                </c:pt>
                <c:pt idx="1199">
                  <c:v>282.13700720000003</c:v>
                </c:pt>
                <c:pt idx="1200">
                  <c:v>281.97773160000003</c:v>
                </c:pt>
                <c:pt idx="1201">
                  <c:v>283.09888089999998</c:v>
                </c:pt>
                <c:pt idx="1202">
                  <c:v>285.75152630000002</c:v>
                </c:pt>
                <c:pt idx="1203">
                  <c:v>285.16248940000003</c:v>
                </c:pt>
                <c:pt idx="1204">
                  <c:v>281.39189900000002</c:v>
                </c:pt>
                <c:pt idx="1205">
                  <c:v>282.58335579999999</c:v>
                </c:pt>
                <c:pt idx="1206">
                  <c:v>279.63722860000001</c:v>
                </c:pt>
                <c:pt idx="1207">
                  <c:v>279.4623082</c:v>
                </c:pt>
                <c:pt idx="1208">
                  <c:v>277.6895427</c:v>
                </c:pt>
                <c:pt idx="1209">
                  <c:v>279.64457979999997</c:v>
                </c:pt>
                <c:pt idx="1210">
                  <c:v>278.74962069999998</c:v>
                </c:pt>
                <c:pt idx="1211">
                  <c:v>280.25510480000003</c:v>
                </c:pt>
                <c:pt idx="1212">
                  <c:v>279.02745759999999</c:v>
                </c:pt>
                <c:pt idx="1213">
                  <c:v>278.63068229999999</c:v>
                </c:pt>
                <c:pt idx="1214">
                  <c:v>279.37409409999998</c:v>
                </c:pt>
                <c:pt idx="1215">
                  <c:v>279.35750680000001</c:v>
                </c:pt>
                <c:pt idx="1216">
                  <c:v>278.21166499999998</c:v>
                </c:pt>
                <c:pt idx="1217">
                  <c:v>280.69655269999998</c:v>
                </c:pt>
                <c:pt idx="1218">
                  <c:v>281.06279230000001</c:v>
                </c:pt>
                <c:pt idx="1219">
                  <c:v>279.0338663</c:v>
                </c:pt>
                <c:pt idx="1220">
                  <c:v>276.0014099</c:v>
                </c:pt>
                <c:pt idx="1221">
                  <c:v>269.08055569999999</c:v>
                </c:pt>
                <c:pt idx="1222">
                  <c:v>262.85976019999998</c:v>
                </c:pt>
                <c:pt idx="1223">
                  <c:v>260.90736190000001</c:v>
                </c:pt>
                <c:pt idx="1224">
                  <c:v>255.85766609999999</c:v>
                </c:pt>
                <c:pt idx="1225">
                  <c:v>256.42596889999999</c:v>
                </c:pt>
                <c:pt idx="1226">
                  <c:v>255.3082124</c:v>
                </c:pt>
                <c:pt idx="1227">
                  <c:v>249.51359690000001</c:v>
                </c:pt>
                <c:pt idx="1228">
                  <c:v>248.8534985</c:v>
                </c:pt>
                <c:pt idx="1229">
                  <c:v>252.75018990000001</c:v>
                </c:pt>
                <c:pt idx="1230">
                  <c:v>254.20233089999999</c:v>
                </c:pt>
                <c:pt idx="1231">
                  <c:v>255.0484707</c:v>
                </c:pt>
                <c:pt idx="1232">
                  <c:v>254.83076260000001</c:v>
                </c:pt>
                <c:pt idx="1233">
                  <c:v>251.06808889999999</c:v>
                </c:pt>
                <c:pt idx="1234">
                  <c:v>251.29899140000001</c:v>
                </c:pt>
                <c:pt idx="1235">
                  <c:v>252.25860320000001</c:v>
                </c:pt>
                <c:pt idx="1236">
                  <c:v>260.23218420000001</c:v>
                </c:pt>
                <c:pt idx="1237">
                  <c:v>265.12241599999999</c:v>
                </c:pt>
                <c:pt idx="1238">
                  <c:v>265.95140300000003</c:v>
                </c:pt>
                <c:pt idx="1239">
                  <c:v>265.82058970000003</c:v>
                </c:pt>
                <c:pt idx="1240">
                  <c:v>265.15219769999999</c:v>
                </c:pt>
                <c:pt idx="1241">
                  <c:v>272.0116036</c:v>
                </c:pt>
                <c:pt idx="1242">
                  <c:v>272.44042239999999</c:v>
                </c:pt>
                <c:pt idx="1243">
                  <c:v>271.71491739999999</c:v>
                </c:pt>
                <c:pt idx="1244">
                  <c:v>283.7003583</c:v>
                </c:pt>
                <c:pt idx="1245">
                  <c:v>281.72251369999998</c:v>
                </c:pt>
              </c:numCache>
            </c:numRef>
          </c:val>
          <c:smooth val="0"/>
        </c:ser>
        <c:ser>
          <c:idx val="2"/>
          <c:order val="2"/>
          <c:tx>
            <c:strRef>
              <c:f>Sheet1!$D$1</c:f>
              <c:strCache>
                <c:ptCount val="1"/>
                <c:pt idx="0">
                  <c:v>Benchmark 2</c:v>
                </c:pt>
              </c:strCache>
            </c:strRef>
          </c:tx>
          <c:spPr>
            <a:ln w="12700">
              <a:solidFill>
                <a:srgbClr val="665C8C"/>
              </a:solidFill>
            </a:ln>
          </c:spPr>
          <c:marker>
            <c:symbol val="none"/>
          </c:marker>
          <c:cat>
            <c:numRef>
              <c:f>Sheet1!$A$2:$A$1247</c:f>
              <c:numCache>
                <c:formatCode>m/d/yyyy</c:formatCode>
                <c:ptCount val="1246"/>
                <c:pt idx="0">
                  <c:v>39769</c:v>
                </c:pt>
                <c:pt idx="1">
                  <c:v>39770</c:v>
                </c:pt>
                <c:pt idx="2">
                  <c:v>39771</c:v>
                </c:pt>
                <c:pt idx="3">
                  <c:v>39772</c:v>
                </c:pt>
                <c:pt idx="4">
                  <c:v>39773</c:v>
                </c:pt>
                <c:pt idx="5">
                  <c:v>39776</c:v>
                </c:pt>
                <c:pt idx="6">
                  <c:v>39777</c:v>
                </c:pt>
                <c:pt idx="7">
                  <c:v>39778</c:v>
                </c:pt>
                <c:pt idx="8">
                  <c:v>39779</c:v>
                </c:pt>
                <c:pt idx="9">
                  <c:v>39780</c:v>
                </c:pt>
                <c:pt idx="10">
                  <c:v>39783</c:v>
                </c:pt>
                <c:pt idx="11">
                  <c:v>39784</c:v>
                </c:pt>
                <c:pt idx="12">
                  <c:v>39785</c:v>
                </c:pt>
                <c:pt idx="13">
                  <c:v>39786</c:v>
                </c:pt>
                <c:pt idx="14">
                  <c:v>39787</c:v>
                </c:pt>
                <c:pt idx="15">
                  <c:v>39790</c:v>
                </c:pt>
                <c:pt idx="16">
                  <c:v>39791</c:v>
                </c:pt>
                <c:pt idx="17">
                  <c:v>39792</c:v>
                </c:pt>
                <c:pt idx="18">
                  <c:v>39793</c:v>
                </c:pt>
                <c:pt idx="19">
                  <c:v>39794</c:v>
                </c:pt>
                <c:pt idx="20">
                  <c:v>39797</c:v>
                </c:pt>
                <c:pt idx="21">
                  <c:v>39798</c:v>
                </c:pt>
                <c:pt idx="22">
                  <c:v>39799</c:v>
                </c:pt>
                <c:pt idx="23">
                  <c:v>39800</c:v>
                </c:pt>
                <c:pt idx="24">
                  <c:v>39801</c:v>
                </c:pt>
                <c:pt idx="25">
                  <c:v>39804</c:v>
                </c:pt>
                <c:pt idx="26">
                  <c:v>39805</c:v>
                </c:pt>
                <c:pt idx="27">
                  <c:v>39806</c:v>
                </c:pt>
                <c:pt idx="28">
                  <c:v>39811</c:v>
                </c:pt>
                <c:pt idx="29">
                  <c:v>39812</c:v>
                </c:pt>
                <c:pt idx="30">
                  <c:v>39813</c:v>
                </c:pt>
                <c:pt idx="31">
                  <c:v>39815</c:v>
                </c:pt>
                <c:pt idx="32">
                  <c:v>39818</c:v>
                </c:pt>
                <c:pt idx="33">
                  <c:v>39819</c:v>
                </c:pt>
                <c:pt idx="34">
                  <c:v>39820</c:v>
                </c:pt>
                <c:pt idx="35">
                  <c:v>39821</c:v>
                </c:pt>
                <c:pt idx="36">
                  <c:v>39822</c:v>
                </c:pt>
                <c:pt idx="37">
                  <c:v>39825</c:v>
                </c:pt>
                <c:pt idx="38">
                  <c:v>39826</c:v>
                </c:pt>
                <c:pt idx="39">
                  <c:v>39827</c:v>
                </c:pt>
                <c:pt idx="40">
                  <c:v>39828</c:v>
                </c:pt>
                <c:pt idx="41">
                  <c:v>39829</c:v>
                </c:pt>
                <c:pt idx="42">
                  <c:v>39832</c:v>
                </c:pt>
                <c:pt idx="43">
                  <c:v>39833</c:v>
                </c:pt>
                <c:pt idx="44">
                  <c:v>39834</c:v>
                </c:pt>
                <c:pt idx="45">
                  <c:v>39835</c:v>
                </c:pt>
                <c:pt idx="46">
                  <c:v>39836</c:v>
                </c:pt>
                <c:pt idx="47">
                  <c:v>39839</c:v>
                </c:pt>
                <c:pt idx="48">
                  <c:v>39840</c:v>
                </c:pt>
                <c:pt idx="49">
                  <c:v>39841</c:v>
                </c:pt>
                <c:pt idx="50">
                  <c:v>39842</c:v>
                </c:pt>
                <c:pt idx="51">
                  <c:v>39843</c:v>
                </c:pt>
                <c:pt idx="52">
                  <c:v>39846</c:v>
                </c:pt>
                <c:pt idx="53">
                  <c:v>39847</c:v>
                </c:pt>
                <c:pt idx="54">
                  <c:v>39848</c:v>
                </c:pt>
                <c:pt idx="55">
                  <c:v>39849</c:v>
                </c:pt>
                <c:pt idx="56">
                  <c:v>39850</c:v>
                </c:pt>
                <c:pt idx="57">
                  <c:v>39853</c:v>
                </c:pt>
                <c:pt idx="58">
                  <c:v>39854</c:v>
                </c:pt>
                <c:pt idx="59">
                  <c:v>39855</c:v>
                </c:pt>
                <c:pt idx="60">
                  <c:v>39856</c:v>
                </c:pt>
                <c:pt idx="61">
                  <c:v>39857</c:v>
                </c:pt>
                <c:pt idx="62">
                  <c:v>39860</c:v>
                </c:pt>
                <c:pt idx="63">
                  <c:v>39861</c:v>
                </c:pt>
                <c:pt idx="64">
                  <c:v>39862</c:v>
                </c:pt>
                <c:pt idx="65">
                  <c:v>39863</c:v>
                </c:pt>
                <c:pt idx="66">
                  <c:v>39864</c:v>
                </c:pt>
                <c:pt idx="67">
                  <c:v>39867</c:v>
                </c:pt>
                <c:pt idx="68">
                  <c:v>39868</c:v>
                </c:pt>
                <c:pt idx="69">
                  <c:v>39869</c:v>
                </c:pt>
                <c:pt idx="70">
                  <c:v>39870</c:v>
                </c:pt>
                <c:pt idx="71">
                  <c:v>39871</c:v>
                </c:pt>
                <c:pt idx="72">
                  <c:v>39874</c:v>
                </c:pt>
                <c:pt idx="73">
                  <c:v>39875</c:v>
                </c:pt>
                <c:pt idx="74">
                  <c:v>39876</c:v>
                </c:pt>
                <c:pt idx="75">
                  <c:v>39877</c:v>
                </c:pt>
                <c:pt idx="76">
                  <c:v>39878</c:v>
                </c:pt>
                <c:pt idx="77">
                  <c:v>39881</c:v>
                </c:pt>
                <c:pt idx="78">
                  <c:v>39882</c:v>
                </c:pt>
                <c:pt idx="79">
                  <c:v>39883</c:v>
                </c:pt>
                <c:pt idx="80">
                  <c:v>39884</c:v>
                </c:pt>
                <c:pt idx="81">
                  <c:v>39885</c:v>
                </c:pt>
                <c:pt idx="82">
                  <c:v>39888</c:v>
                </c:pt>
                <c:pt idx="83">
                  <c:v>39889</c:v>
                </c:pt>
                <c:pt idx="84">
                  <c:v>39890</c:v>
                </c:pt>
                <c:pt idx="85">
                  <c:v>39891</c:v>
                </c:pt>
                <c:pt idx="86">
                  <c:v>39892</c:v>
                </c:pt>
                <c:pt idx="87">
                  <c:v>39895</c:v>
                </c:pt>
                <c:pt idx="88">
                  <c:v>39896</c:v>
                </c:pt>
                <c:pt idx="89">
                  <c:v>39897</c:v>
                </c:pt>
                <c:pt idx="90">
                  <c:v>39898</c:v>
                </c:pt>
                <c:pt idx="91">
                  <c:v>39899</c:v>
                </c:pt>
                <c:pt idx="92">
                  <c:v>39902</c:v>
                </c:pt>
                <c:pt idx="93">
                  <c:v>39903</c:v>
                </c:pt>
                <c:pt idx="94">
                  <c:v>39904</c:v>
                </c:pt>
                <c:pt idx="95">
                  <c:v>39905</c:v>
                </c:pt>
                <c:pt idx="96">
                  <c:v>39906</c:v>
                </c:pt>
                <c:pt idx="97">
                  <c:v>39909</c:v>
                </c:pt>
                <c:pt idx="98">
                  <c:v>39910</c:v>
                </c:pt>
                <c:pt idx="99">
                  <c:v>39911</c:v>
                </c:pt>
                <c:pt idx="100">
                  <c:v>39912</c:v>
                </c:pt>
                <c:pt idx="101">
                  <c:v>39917</c:v>
                </c:pt>
                <c:pt idx="102">
                  <c:v>39918</c:v>
                </c:pt>
                <c:pt idx="103">
                  <c:v>39919</c:v>
                </c:pt>
                <c:pt idx="104">
                  <c:v>39920</c:v>
                </c:pt>
                <c:pt idx="105">
                  <c:v>39923</c:v>
                </c:pt>
                <c:pt idx="106">
                  <c:v>39924</c:v>
                </c:pt>
                <c:pt idx="107">
                  <c:v>39925</c:v>
                </c:pt>
                <c:pt idx="108">
                  <c:v>39926</c:v>
                </c:pt>
                <c:pt idx="109">
                  <c:v>39927</c:v>
                </c:pt>
                <c:pt idx="110">
                  <c:v>39930</c:v>
                </c:pt>
                <c:pt idx="111">
                  <c:v>39931</c:v>
                </c:pt>
                <c:pt idx="112">
                  <c:v>39932</c:v>
                </c:pt>
                <c:pt idx="113">
                  <c:v>39933</c:v>
                </c:pt>
                <c:pt idx="114">
                  <c:v>39934</c:v>
                </c:pt>
                <c:pt idx="115">
                  <c:v>39937</c:v>
                </c:pt>
                <c:pt idx="116">
                  <c:v>39938</c:v>
                </c:pt>
                <c:pt idx="117">
                  <c:v>39939</c:v>
                </c:pt>
                <c:pt idx="118">
                  <c:v>39940</c:v>
                </c:pt>
                <c:pt idx="119">
                  <c:v>39941</c:v>
                </c:pt>
                <c:pt idx="120">
                  <c:v>39944</c:v>
                </c:pt>
                <c:pt idx="121">
                  <c:v>39945</c:v>
                </c:pt>
                <c:pt idx="122">
                  <c:v>39946</c:v>
                </c:pt>
                <c:pt idx="123">
                  <c:v>39947</c:v>
                </c:pt>
                <c:pt idx="124">
                  <c:v>39948</c:v>
                </c:pt>
                <c:pt idx="125">
                  <c:v>39951</c:v>
                </c:pt>
                <c:pt idx="126">
                  <c:v>39952</c:v>
                </c:pt>
                <c:pt idx="127">
                  <c:v>39953</c:v>
                </c:pt>
                <c:pt idx="128">
                  <c:v>39954</c:v>
                </c:pt>
                <c:pt idx="129">
                  <c:v>39955</c:v>
                </c:pt>
                <c:pt idx="130">
                  <c:v>39958</c:v>
                </c:pt>
                <c:pt idx="131">
                  <c:v>39959</c:v>
                </c:pt>
                <c:pt idx="132">
                  <c:v>39960</c:v>
                </c:pt>
                <c:pt idx="133">
                  <c:v>39961</c:v>
                </c:pt>
                <c:pt idx="134">
                  <c:v>39962</c:v>
                </c:pt>
                <c:pt idx="135">
                  <c:v>39965</c:v>
                </c:pt>
                <c:pt idx="136">
                  <c:v>39966</c:v>
                </c:pt>
                <c:pt idx="137">
                  <c:v>39967</c:v>
                </c:pt>
                <c:pt idx="138">
                  <c:v>39968</c:v>
                </c:pt>
                <c:pt idx="139">
                  <c:v>39969</c:v>
                </c:pt>
                <c:pt idx="140">
                  <c:v>39972</c:v>
                </c:pt>
                <c:pt idx="141">
                  <c:v>39973</c:v>
                </c:pt>
                <c:pt idx="142">
                  <c:v>39974</c:v>
                </c:pt>
                <c:pt idx="143">
                  <c:v>39975</c:v>
                </c:pt>
                <c:pt idx="144">
                  <c:v>39976</c:v>
                </c:pt>
                <c:pt idx="145">
                  <c:v>39979</c:v>
                </c:pt>
                <c:pt idx="146">
                  <c:v>39980</c:v>
                </c:pt>
                <c:pt idx="147">
                  <c:v>39981</c:v>
                </c:pt>
                <c:pt idx="148">
                  <c:v>39982</c:v>
                </c:pt>
                <c:pt idx="149">
                  <c:v>39983</c:v>
                </c:pt>
                <c:pt idx="150">
                  <c:v>39986</c:v>
                </c:pt>
                <c:pt idx="151">
                  <c:v>39987</c:v>
                </c:pt>
                <c:pt idx="152">
                  <c:v>39988</c:v>
                </c:pt>
                <c:pt idx="153">
                  <c:v>39989</c:v>
                </c:pt>
                <c:pt idx="154">
                  <c:v>39990</c:v>
                </c:pt>
                <c:pt idx="155">
                  <c:v>39993</c:v>
                </c:pt>
                <c:pt idx="156">
                  <c:v>39994</c:v>
                </c:pt>
                <c:pt idx="157">
                  <c:v>39995</c:v>
                </c:pt>
                <c:pt idx="158">
                  <c:v>39996</c:v>
                </c:pt>
                <c:pt idx="159">
                  <c:v>39997</c:v>
                </c:pt>
                <c:pt idx="160">
                  <c:v>40000</c:v>
                </c:pt>
                <c:pt idx="161">
                  <c:v>40001</c:v>
                </c:pt>
                <c:pt idx="162">
                  <c:v>40002</c:v>
                </c:pt>
                <c:pt idx="163">
                  <c:v>40003</c:v>
                </c:pt>
                <c:pt idx="164">
                  <c:v>40004</c:v>
                </c:pt>
                <c:pt idx="165">
                  <c:v>40007</c:v>
                </c:pt>
                <c:pt idx="166">
                  <c:v>40008</c:v>
                </c:pt>
                <c:pt idx="167">
                  <c:v>40009</c:v>
                </c:pt>
                <c:pt idx="168">
                  <c:v>40010</c:v>
                </c:pt>
                <c:pt idx="169">
                  <c:v>40011</c:v>
                </c:pt>
                <c:pt idx="170">
                  <c:v>40014</c:v>
                </c:pt>
                <c:pt idx="171">
                  <c:v>40015</c:v>
                </c:pt>
                <c:pt idx="172">
                  <c:v>40016</c:v>
                </c:pt>
                <c:pt idx="173">
                  <c:v>40017</c:v>
                </c:pt>
                <c:pt idx="174">
                  <c:v>40018</c:v>
                </c:pt>
                <c:pt idx="175">
                  <c:v>40021</c:v>
                </c:pt>
                <c:pt idx="176">
                  <c:v>40022</c:v>
                </c:pt>
                <c:pt idx="177">
                  <c:v>40023</c:v>
                </c:pt>
                <c:pt idx="178">
                  <c:v>40024</c:v>
                </c:pt>
                <c:pt idx="179">
                  <c:v>40025</c:v>
                </c:pt>
                <c:pt idx="180">
                  <c:v>40028</c:v>
                </c:pt>
                <c:pt idx="181">
                  <c:v>40029</c:v>
                </c:pt>
                <c:pt idx="182">
                  <c:v>40030</c:v>
                </c:pt>
                <c:pt idx="183">
                  <c:v>40031</c:v>
                </c:pt>
                <c:pt idx="184">
                  <c:v>40032</c:v>
                </c:pt>
                <c:pt idx="185">
                  <c:v>40035</c:v>
                </c:pt>
                <c:pt idx="186">
                  <c:v>40036</c:v>
                </c:pt>
                <c:pt idx="187">
                  <c:v>40037</c:v>
                </c:pt>
                <c:pt idx="188">
                  <c:v>40038</c:v>
                </c:pt>
                <c:pt idx="189">
                  <c:v>40039</c:v>
                </c:pt>
                <c:pt idx="190">
                  <c:v>40042</c:v>
                </c:pt>
                <c:pt idx="191">
                  <c:v>40043</c:v>
                </c:pt>
                <c:pt idx="192">
                  <c:v>40044</c:v>
                </c:pt>
                <c:pt idx="193">
                  <c:v>40045</c:v>
                </c:pt>
                <c:pt idx="194">
                  <c:v>40046</c:v>
                </c:pt>
                <c:pt idx="195">
                  <c:v>40049</c:v>
                </c:pt>
                <c:pt idx="196">
                  <c:v>40050</c:v>
                </c:pt>
                <c:pt idx="197">
                  <c:v>40051</c:v>
                </c:pt>
                <c:pt idx="198">
                  <c:v>40052</c:v>
                </c:pt>
                <c:pt idx="199">
                  <c:v>40053</c:v>
                </c:pt>
                <c:pt idx="200">
                  <c:v>40056</c:v>
                </c:pt>
                <c:pt idx="201">
                  <c:v>40057</c:v>
                </c:pt>
                <c:pt idx="202">
                  <c:v>40058</c:v>
                </c:pt>
                <c:pt idx="203">
                  <c:v>40059</c:v>
                </c:pt>
                <c:pt idx="204">
                  <c:v>40060</c:v>
                </c:pt>
                <c:pt idx="205">
                  <c:v>40063</c:v>
                </c:pt>
                <c:pt idx="206">
                  <c:v>40064</c:v>
                </c:pt>
                <c:pt idx="207">
                  <c:v>40065</c:v>
                </c:pt>
                <c:pt idx="208">
                  <c:v>40066</c:v>
                </c:pt>
                <c:pt idx="209">
                  <c:v>40067</c:v>
                </c:pt>
                <c:pt idx="210">
                  <c:v>40070</c:v>
                </c:pt>
                <c:pt idx="211">
                  <c:v>40071</c:v>
                </c:pt>
                <c:pt idx="212">
                  <c:v>40072</c:v>
                </c:pt>
                <c:pt idx="213">
                  <c:v>40073</c:v>
                </c:pt>
                <c:pt idx="214">
                  <c:v>40074</c:v>
                </c:pt>
                <c:pt idx="215">
                  <c:v>40077</c:v>
                </c:pt>
                <c:pt idx="216">
                  <c:v>40078</c:v>
                </c:pt>
                <c:pt idx="217">
                  <c:v>40079</c:v>
                </c:pt>
                <c:pt idx="218">
                  <c:v>40080</c:v>
                </c:pt>
                <c:pt idx="219">
                  <c:v>40081</c:v>
                </c:pt>
                <c:pt idx="220">
                  <c:v>40084</c:v>
                </c:pt>
                <c:pt idx="221">
                  <c:v>40085</c:v>
                </c:pt>
                <c:pt idx="222">
                  <c:v>40086</c:v>
                </c:pt>
                <c:pt idx="223">
                  <c:v>40087</c:v>
                </c:pt>
                <c:pt idx="224">
                  <c:v>40088</c:v>
                </c:pt>
                <c:pt idx="225">
                  <c:v>40091</c:v>
                </c:pt>
                <c:pt idx="226">
                  <c:v>40092</c:v>
                </c:pt>
                <c:pt idx="227">
                  <c:v>40093</c:v>
                </c:pt>
                <c:pt idx="228">
                  <c:v>40094</c:v>
                </c:pt>
                <c:pt idx="229">
                  <c:v>40095</c:v>
                </c:pt>
                <c:pt idx="230">
                  <c:v>40098</c:v>
                </c:pt>
                <c:pt idx="231">
                  <c:v>40099</c:v>
                </c:pt>
                <c:pt idx="232">
                  <c:v>40100</c:v>
                </c:pt>
                <c:pt idx="233">
                  <c:v>40101</c:v>
                </c:pt>
                <c:pt idx="234">
                  <c:v>40102</c:v>
                </c:pt>
                <c:pt idx="235">
                  <c:v>40105</c:v>
                </c:pt>
                <c:pt idx="236">
                  <c:v>40106</c:v>
                </c:pt>
                <c:pt idx="237">
                  <c:v>40107</c:v>
                </c:pt>
                <c:pt idx="238">
                  <c:v>40108</c:v>
                </c:pt>
                <c:pt idx="239">
                  <c:v>40109</c:v>
                </c:pt>
                <c:pt idx="240">
                  <c:v>40112</c:v>
                </c:pt>
                <c:pt idx="241">
                  <c:v>40113</c:v>
                </c:pt>
                <c:pt idx="242">
                  <c:v>40114</c:v>
                </c:pt>
                <c:pt idx="243">
                  <c:v>40115</c:v>
                </c:pt>
                <c:pt idx="244">
                  <c:v>40116</c:v>
                </c:pt>
                <c:pt idx="245">
                  <c:v>40119</c:v>
                </c:pt>
                <c:pt idx="246">
                  <c:v>40120</c:v>
                </c:pt>
                <c:pt idx="247">
                  <c:v>40121</c:v>
                </c:pt>
                <c:pt idx="248">
                  <c:v>40122</c:v>
                </c:pt>
                <c:pt idx="249">
                  <c:v>40123</c:v>
                </c:pt>
                <c:pt idx="250">
                  <c:v>40126</c:v>
                </c:pt>
                <c:pt idx="251">
                  <c:v>40127</c:v>
                </c:pt>
                <c:pt idx="252">
                  <c:v>40128</c:v>
                </c:pt>
                <c:pt idx="253">
                  <c:v>40129</c:v>
                </c:pt>
                <c:pt idx="254">
                  <c:v>40130</c:v>
                </c:pt>
                <c:pt idx="255">
                  <c:v>40133</c:v>
                </c:pt>
                <c:pt idx="256">
                  <c:v>40134</c:v>
                </c:pt>
                <c:pt idx="257">
                  <c:v>40135</c:v>
                </c:pt>
                <c:pt idx="258">
                  <c:v>40136</c:v>
                </c:pt>
                <c:pt idx="259">
                  <c:v>40137</c:v>
                </c:pt>
                <c:pt idx="260">
                  <c:v>40140</c:v>
                </c:pt>
                <c:pt idx="261">
                  <c:v>40141</c:v>
                </c:pt>
                <c:pt idx="262">
                  <c:v>40142</c:v>
                </c:pt>
                <c:pt idx="263">
                  <c:v>40143</c:v>
                </c:pt>
                <c:pt idx="264">
                  <c:v>40144</c:v>
                </c:pt>
                <c:pt idx="265">
                  <c:v>40147</c:v>
                </c:pt>
                <c:pt idx="266">
                  <c:v>40148</c:v>
                </c:pt>
                <c:pt idx="267">
                  <c:v>40149</c:v>
                </c:pt>
                <c:pt idx="268">
                  <c:v>40150</c:v>
                </c:pt>
                <c:pt idx="269">
                  <c:v>40151</c:v>
                </c:pt>
                <c:pt idx="270">
                  <c:v>40154</c:v>
                </c:pt>
                <c:pt idx="271">
                  <c:v>40155</c:v>
                </c:pt>
                <c:pt idx="272">
                  <c:v>40156</c:v>
                </c:pt>
                <c:pt idx="273">
                  <c:v>40157</c:v>
                </c:pt>
                <c:pt idx="274">
                  <c:v>40158</c:v>
                </c:pt>
                <c:pt idx="275">
                  <c:v>40161</c:v>
                </c:pt>
                <c:pt idx="276">
                  <c:v>40162</c:v>
                </c:pt>
                <c:pt idx="277">
                  <c:v>40163</c:v>
                </c:pt>
                <c:pt idx="278">
                  <c:v>40164</c:v>
                </c:pt>
                <c:pt idx="279">
                  <c:v>40165</c:v>
                </c:pt>
                <c:pt idx="280">
                  <c:v>40168</c:v>
                </c:pt>
                <c:pt idx="281">
                  <c:v>40169</c:v>
                </c:pt>
                <c:pt idx="282">
                  <c:v>40170</c:v>
                </c:pt>
                <c:pt idx="283">
                  <c:v>40171</c:v>
                </c:pt>
                <c:pt idx="284">
                  <c:v>40175</c:v>
                </c:pt>
                <c:pt idx="285">
                  <c:v>40176</c:v>
                </c:pt>
                <c:pt idx="286">
                  <c:v>40177</c:v>
                </c:pt>
                <c:pt idx="287">
                  <c:v>40178</c:v>
                </c:pt>
                <c:pt idx="288">
                  <c:v>40182</c:v>
                </c:pt>
                <c:pt idx="289">
                  <c:v>40183</c:v>
                </c:pt>
                <c:pt idx="290">
                  <c:v>40184</c:v>
                </c:pt>
                <c:pt idx="291">
                  <c:v>40185</c:v>
                </c:pt>
                <c:pt idx="292">
                  <c:v>40186</c:v>
                </c:pt>
                <c:pt idx="293">
                  <c:v>40189</c:v>
                </c:pt>
                <c:pt idx="294">
                  <c:v>40190</c:v>
                </c:pt>
                <c:pt idx="295">
                  <c:v>40191</c:v>
                </c:pt>
                <c:pt idx="296">
                  <c:v>40192</c:v>
                </c:pt>
                <c:pt idx="297">
                  <c:v>40193</c:v>
                </c:pt>
                <c:pt idx="298">
                  <c:v>40196</c:v>
                </c:pt>
                <c:pt idx="299">
                  <c:v>40197</c:v>
                </c:pt>
                <c:pt idx="300">
                  <c:v>40198</c:v>
                </c:pt>
                <c:pt idx="301">
                  <c:v>40199</c:v>
                </c:pt>
                <c:pt idx="302">
                  <c:v>40200</c:v>
                </c:pt>
                <c:pt idx="303">
                  <c:v>40203</c:v>
                </c:pt>
                <c:pt idx="304">
                  <c:v>40204</c:v>
                </c:pt>
                <c:pt idx="305">
                  <c:v>40205</c:v>
                </c:pt>
                <c:pt idx="306">
                  <c:v>40206</c:v>
                </c:pt>
                <c:pt idx="307">
                  <c:v>40207</c:v>
                </c:pt>
                <c:pt idx="308">
                  <c:v>40210</c:v>
                </c:pt>
                <c:pt idx="309">
                  <c:v>40211</c:v>
                </c:pt>
                <c:pt idx="310">
                  <c:v>40212</c:v>
                </c:pt>
                <c:pt idx="311">
                  <c:v>40213</c:v>
                </c:pt>
                <c:pt idx="312">
                  <c:v>40214</c:v>
                </c:pt>
                <c:pt idx="313">
                  <c:v>40217</c:v>
                </c:pt>
                <c:pt idx="314">
                  <c:v>40218</c:v>
                </c:pt>
                <c:pt idx="315">
                  <c:v>40219</c:v>
                </c:pt>
                <c:pt idx="316">
                  <c:v>40220</c:v>
                </c:pt>
                <c:pt idx="317">
                  <c:v>40221</c:v>
                </c:pt>
                <c:pt idx="318">
                  <c:v>40224</c:v>
                </c:pt>
                <c:pt idx="319">
                  <c:v>40225</c:v>
                </c:pt>
                <c:pt idx="320">
                  <c:v>40226</c:v>
                </c:pt>
                <c:pt idx="321">
                  <c:v>40227</c:v>
                </c:pt>
                <c:pt idx="322">
                  <c:v>40228</c:v>
                </c:pt>
                <c:pt idx="323">
                  <c:v>40231</c:v>
                </c:pt>
                <c:pt idx="324">
                  <c:v>40232</c:v>
                </c:pt>
                <c:pt idx="325">
                  <c:v>40233</c:v>
                </c:pt>
                <c:pt idx="326">
                  <c:v>40234</c:v>
                </c:pt>
                <c:pt idx="327">
                  <c:v>40235</c:v>
                </c:pt>
                <c:pt idx="328">
                  <c:v>40238</c:v>
                </c:pt>
                <c:pt idx="329">
                  <c:v>40239</c:v>
                </c:pt>
                <c:pt idx="330">
                  <c:v>40240</c:v>
                </c:pt>
                <c:pt idx="331">
                  <c:v>40241</c:v>
                </c:pt>
                <c:pt idx="332">
                  <c:v>40242</c:v>
                </c:pt>
                <c:pt idx="333">
                  <c:v>40245</c:v>
                </c:pt>
                <c:pt idx="334">
                  <c:v>40246</c:v>
                </c:pt>
                <c:pt idx="335">
                  <c:v>40247</c:v>
                </c:pt>
                <c:pt idx="336">
                  <c:v>40248</c:v>
                </c:pt>
                <c:pt idx="337">
                  <c:v>40249</c:v>
                </c:pt>
                <c:pt idx="338">
                  <c:v>40252</c:v>
                </c:pt>
                <c:pt idx="339">
                  <c:v>40253</c:v>
                </c:pt>
                <c:pt idx="340">
                  <c:v>40254</c:v>
                </c:pt>
                <c:pt idx="341">
                  <c:v>40255</c:v>
                </c:pt>
                <c:pt idx="342">
                  <c:v>40256</c:v>
                </c:pt>
                <c:pt idx="343">
                  <c:v>40259</c:v>
                </c:pt>
                <c:pt idx="344">
                  <c:v>40260</c:v>
                </c:pt>
                <c:pt idx="345">
                  <c:v>40261</c:v>
                </c:pt>
                <c:pt idx="346">
                  <c:v>40262</c:v>
                </c:pt>
                <c:pt idx="347">
                  <c:v>40263</c:v>
                </c:pt>
                <c:pt idx="348">
                  <c:v>40266</c:v>
                </c:pt>
                <c:pt idx="349">
                  <c:v>40267</c:v>
                </c:pt>
                <c:pt idx="350">
                  <c:v>40268</c:v>
                </c:pt>
                <c:pt idx="351">
                  <c:v>40269</c:v>
                </c:pt>
                <c:pt idx="352">
                  <c:v>40274</c:v>
                </c:pt>
                <c:pt idx="353">
                  <c:v>40275</c:v>
                </c:pt>
                <c:pt idx="354">
                  <c:v>40276</c:v>
                </c:pt>
                <c:pt idx="355">
                  <c:v>40277</c:v>
                </c:pt>
                <c:pt idx="356">
                  <c:v>40280</c:v>
                </c:pt>
                <c:pt idx="357">
                  <c:v>40281</c:v>
                </c:pt>
                <c:pt idx="358">
                  <c:v>40282</c:v>
                </c:pt>
                <c:pt idx="359">
                  <c:v>40283</c:v>
                </c:pt>
                <c:pt idx="360">
                  <c:v>40284</c:v>
                </c:pt>
                <c:pt idx="361">
                  <c:v>40287</c:v>
                </c:pt>
                <c:pt idx="362">
                  <c:v>40288</c:v>
                </c:pt>
                <c:pt idx="363">
                  <c:v>40289</c:v>
                </c:pt>
                <c:pt idx="364">
                  <c:v>40290</c:v>
                </c:pt>
                <c:pt idx="365">
                  <c:v>40291</c:v>
                </c:pt>
                <c:pt idx="366">
                  <c:v>40294</c:v>
                </c:pt>
                <c:pt idx="367">
                  <c:v>40295</c:v>
                </c:pt>
                <c:pt idx="368">
                  <c:v>40296</c:v>
                </c:pt>
                <c:pt idx="369">
                  <c:v>40297</c:v>
                </c:pt>
                <c:pt idx="370">
                  <c:v>40298</c:v>
                </c:pt>
                <c:pt idx="371">
                  <c:v>40301</c:v>
                </c:pt>
                <c:pt idx="372">
                  <c:v>40302</c:v>
                </c:pt>
                <c:pt idx="373">
                  <c:v>40303</c:v>
                </c:pt>
                <c:pt idx="374">
                  <c:v>40304</c:v>
                </c:pt>
                <c:pt idx="375">
                  <c:v>40305</c:v>
                </c:pt>
                <c:pt idx="376">
                  <c:v>40308</c:v>
                </c:pt>
                <c:pt idx="377">
                  <c:v>40309</c:v>
                </c:pt>
                <c:pt idx="378">
                  <c:v>40310</c:v>
                </c:pt>
                <c:pt idx="379">
                  <c:v>40311</c:v>
                </c:pt>
                <c:pt idx="380">
                  <c:v>40312</c:v>
                </c:pt>
                <c:pt idx="381">
                  <c:v>40315</c:v>
                </c:pt>
                <c:pt idx="382">
                  <c:v>40316</c:v>
                </c:pt>
                <c:pt idx="383">
                  <c:v>40317</c:v>
                </c:pt>
                <c:pt idx="384">
                  <c:v>40318</c:v>
                </c:pt>
                <c:pt idx="385">
                  <c:v>40319</c:v>
                </c:pt>
                <c:pt idx="386">
                  <c:v>40322</c:v>
                </c:pt>
                <c:pt idx="387">
                  <c:v>40323</c:v>
                </c:pt>
                <c:pt idx="388">
                  <c:v>40324</c:v>
                </c:pt>
                <c:pt idx="389">
                  <c:v>40325</c:v>
                </c:pt>
                <c:pt idx="390">
                  <c:v>40326</c:v>
                </c:pt>
                <c:pt idx="391">
                  <c:v>40329</c:v>
                </c:pt>
                <c:pt idx="392">
                  <c:v>40330</c:v>
                </c:pt>
                <c:pt idx="393">
                  <c:v>40331</c:v>
                </c:pt>
                <c:pt idx="394">
                  <c:v>40332</c:v>
                </c:pt>
                <c:pt idx="395">
                  <c:v>40333</c:v>
                </c:pt>
                <c:pt idx="396">
                  <c:v>40336</c:v>
                </c:pt>
                <c:pt idx="397">
                  <c:v>40337</c:v>
                </c:pt>
                <c:pt idx="398">
                  <c:v>40338</c:v>
                </c:pt>
                <c:pt idx="399">
                  <c:v>40339</c:v>
                </c:pt>
                <c:pt idx="400">
                  <c:v>40340</c:v>
                </c:pt>
                <c:pt idx="401">
                  <c:v>40343</c:v>
                </c:pt>
                <c:pt idx="402">
                  <c:v>40344</c:v>
                </c:pt>
                <c:pt idx="403">
                  <c:v>40345</c:v>
                </c:pt>
                <c:pt idx="404">
                  <c:v>40346</c:v>
                </c:pt>
                <c:pt idx="405">
                  <c:v>40347</c:v>
                </c:pt>
                <c:pt idx="406">
                  <c:v>40350</c:v>
                </c:pt>
                <c:pt idx="407">
                  <c:v>40351</c:v>
                </c:pt>
                <c:pt idx="408">
                  <c:v>40352</c:v>
                </c:pt>
                <c:pt idx="409">
                  <c:v>40353</c:v>
                </c:pt>
                <c:pt idx="410">
                  <c:v>40354</c:v>
                </c:pt>
                <c:pt idx="411">
                  <c:v>40357</c:v>
                </c:pt>
                <c:pt idx="412">
                  <c:v>40358</c:v>
                </c:pt>
                <c:pt idx="413">
                  <c:v>40359</c:v>
                </c:pt>
                <c:pt idx="414">
                  <c:v>40360</c:v>
                </c:pt>
                <c:pt idx="415">
                  <c:v>40361</c:v>
                </c:pt>
                <c:pt idx="416">
                  <c:v>40364</c:v>
                </c:pt>
                <c:pt idx="417">
                  <c:v>40365</c:v>
                </c:pt>
                <c:pt idx="418">
                  <c:v>40366</c:v>
                </c:pt>
                <c:pt idx="419">
                  <c:v>40367</c:v>
                </c:pt>
                <c:pt idx="420">
                  <c:v>40368</c:v>
                </c:pt>
                <c:pt idx="421">
                  <c:v>40371</c:v>
                </c:pt>
                <c:pt idx="422">
                  <c:v>40372</c:v>
                </c:pt>
                <c:pt idx="423">
                  <c:v>40373</c:v>
                </c:pt>
                <c:pt idx="424">
                  <c:v>40374</c:v>
                </c:pt>
                <c:pt idx="425">
                  <c:v>40375</c:v>
                </c:pt>
                <c:pt idx="426">
                  <c:v>40378</c:v>
                </c:pt>
                <c:pt idx="427">
                  <c:v>40379</c:v>
                </c:pt>
                <c:pt idx="428">
                  <c:v>40380</c:v>
                </c:pt>
                <c:pt idx="429">
                  <c:v>40381</c:v>
                </c:pt>
                <c:pt idx="430">
                  <c:v>40382</c:v>
                </c:pt>
                <c:pt idx="431">
                  <c:v>40385</c:v>
                </c:pt>
                <c:pt idx="432">
                  <c:v>40386</c:v>
                </c:pt>
                <c:pt idx="433">
                  <c:v>40387</c:v>
                </c:pt>
                <c:pt idx="434">
                  <c:v>40388</c:v>
                </c:pt>
                <c:pt idx="435">
                  <c:v>40389</c:v>
                </c:pt>
                <c:pt idx="436">
                  <c:v>40392</c:v>
                </c:pt>
                <c:pt idx="437">
                  <c:v>40393</c:v>
                </c:pt>
                <c:pt idx="438">
                  <c:v>40394</c:v>
                </c:pt>
                <c:pt idx="439">
                  <c:v>40395</c:v>
                </c:pt>
                <c:pt idx="440">
                  <c:v>40396</c:v>
                </c:pt>
                <c:pt idx="441">
                  <c:v>40399</c:v>
                </c:pt>
                <c:pt idx="442">
                  <c:v>40400</c:v>
                </c:pt>
                <c:pt idx="443">
                  <c:v>40401</c:v>
                </c:pt>
                <c:pt idx="444">
                  <c:v>40402</c:v>
                </c:pt>
                <c:pt idx="445">
                  <c:v>40403</c:v>
                </c:pt>
                <c:pt idx="446">
                  <c:v>40406</c:v>
                </c:pt>
                <c:pt idx="447">
                  <c:v>40407</c:v>
                </c:pt>
                <c:pt idx="448">
                  <c:v>40408</c:v>
                </c:pt>
                <c:pt idx="449">
                  <c:v>40409</c:v>
                </c:pt>
                <c:pt idx="450">
                  <c:v>40410</c:v>
                </c:pt>
                <c:pt idx="451">
                  <c:v>40413</c:v>
                </c:pt>
                <c:pt idx="452">
                  <c:v>40414</c:v>
                </c:pt>
                <c:pt idx="453">
                  <c:v>40415</c:v>
                </c:pt>
                <c:pt idx="454">
                  <c:v>40416</c:v>
                </c:pt>
                <c:pt idx="455">
                  <c:v>40417</c:v>
                </c:pt>
                <c:pt idx="456">
                  <c:v>40420</c:v>
                </c:pt>
                <c:pt idx="457">
                  <c:v>40421</c:v>
                </c:pt>
                <c:pt idx="458">
                  <c:v>40422</c:v>
                </c:pt>
                <c:pt idx="459">
                  <c:v>40423</c:v>
                </c:pt>
                <c:pt idx="460">
                  <c:v>40424</c:v>
                </c:pt>
                <c:pt idx="461">
                  <c:v>40427</c:v>
                </c:pt>
                <c:pt idx="462">
                  <c:v>40428</c:v>
                </c:pt>
                <c:pt idx="463">
                  <c:v>40429</c:v>
                </c:pt>
                <c:pt idx="464">
                  <c:v>40430</c:v>
                </c:pt>
                <c:pt idx="465">
                  <c:v>40431</c:v>
                </c:pt>
                <c:pt idx="466">
                  <c:v>40434</c:v>
                </c:pt>
                <c:pt idx="467">
                  <c:v>40435</c:v>
                </c:pt>
                <c:pt idx="468">
                  <c:v>40436</c:v>
                </c:pt>
                <c:pt idx="469">
                  <c:v>40437</c:v>
                </c:pt>
                <c:pt idx="470">
                  <c:v>40438</c:v>
                </c:pt>
                <c:pt idx="471">
                  <c:v>40441</c:v>
                </c:pt>
                <c:pt idx="472">
                  <c:v>40442</c:v>
                </c:pt>
                <c:pt idx="473">
                  <c:v>40443</c:v>
                </c:pt>
                <c:pt idx="474">
                  <c:v>40444</c:v>
                </c:pt>
                <c:pt idx="475">
                  <c:v>40445</c:v>
                </c:pt>
                <c:pt idx="476">
                  <c:v>40448</c:v>
                </c:pt>
                <c:pt idx="477">
                  <c:v>40449</c:v>
                </c:pt>
                <c:pt idx="478">
                  <c:v>40450</c:v>
                </c:pt>
                <c:pt idx="479">
                  <c:v>40451</c:v>
                </c:pt>
                <c:pt idx="480">
                  <c:v>40452</c:v>
                </c:pt>
                <c:pt idx="481">
                  <c:v>40455</c:v>
                </c:pt>
                <c:pt idx="482">
                  <c:v>40456</c:v>
                </c:pt>
                <c:pt idx="483">
                  <c:v>40457</c:v>
                </c:pt>
                <c:pt idx="484">
                  <c:v>40458</c:v>
                </c:pt>
                <c:pt idx="485">
                  <c:v>40459</c:v>
                </c:pt>
                <c:pt idx="486">
                  <c:v>40462</c:v>
                </c:pt>
                <c:pt idx="487">
                  <c:v>40463</c:v>
                </c:pt>
                <c:pt idx="488">
                  <c:v>40464</c:v>
                </c:pt>
                <c:pt idx="489">
                  <c:v>40465</c:v>
                </c:pt>
                <c:pt idx="490">
                  <c:v>40466</c:v>
                </c:pt>
                <c:pt idx="491">
                  <c:v>40469</c:v>
                </c:pt>
                <c:pt idx="492">
                  <c:v>40470</c:v>
                </c:pt>
                <c:pt idx="493">
                  <c:v>40471</c:v>
                </c:pt>
                <c:pt idx="494">
                  <c:v>40472</c:v>
                </c:pt>
                <c:pt idx="495">
                  <c:v>40473</c:v>
                </c:pt>
                <c:pt idx="496">
                  <c:v>40476</c:v>
                </c:pt>
                <c:pt idx="497">
                  <c:v>40477</c:v>
                </c:pt>
                <c:pt idx="498">
                  <c:v>40478</c:v>
                </c:pt>
                <c:pt idx="499">
                  <c:v>40479</c:v>
                </c:pt>
                <c:pt idx="500">
                  <c:v>40480</c:v>
                </c:pt>
                <c:pt idx="501">
                  <c:v>40483</c:v>
                </c:pt>
                <c:pt idx="502">
                  <c:v>40484</c:v>
                </c:pt>
                <c:pt idx="503">
                  <c:v>40485</c:v>
                </c:pt>
                <c:pt idx="504">
                  <c:v>40486</c:v>
                </c:pt>
                <c:pt idx="505">
                  <c:v>40487</c:v>
                </c:pt>
                <c:pt idx="506">
                  <c:v>40490</c:v>
                </c:pt>
                <c:pt idx="507">
                  <c:v>40491</c:v>
                </c:pt>
                <c:pt idx="508">
                  <c:v>40492</c:v>
                </c:pt>
                <c:pt idx="509">
                  <c:v>40493</c:v>
                </c:pt>
                <c:pt idx="510">
                  <c:v>40494</c:v>
                </c:pt>
                <c:pt idx="511">
                  <c:v>40497</c:v>
                </c:pt>
                <c:pt idx="512">
                  <c:v>40498</c:v>
                </c:pt>
                <c:pt idx="513">
                  <c:v>40499</c:v>
                </c:pt>
                <c:pt idx="514">
                  <c:v>40500</c:v>
                </c:pt>
                <c:pt idx="515">
                  <c:v>40501</c:v>
                </c:pt>
                <c:pt idx="516">
                  <c:v>40504</c:v>
                </c:pt>
                <c:pt idx="517">
                  <c:v>40505</c:v>
                </c:pt>
                <c:pt idx="518">
                  <c:v>40506</c:v>
                </c:pt>
                <c:pt idx="519">
                  <c:v>40507</c:v>
                </c:pt>
                <c:pt idx="520">
                  <c:v>40508</c:v>
                </c:pt>
                <c:pt idx="521">
                  <c:v>40511</c:v>
                </c:pt>
                <c:pt idx="522">
                  <c:v>40512</c:v>
                </c:pt>
                <c:pt idx="523">
                  <c:v>40513</c:v>
                </c:pt>
                <c:pt idx="524">
                  <c:v>40514</c:v>
                </c:pt>
                <c:pt idx="525">
                  <c:v>40515</c:v>
                </c:pt>
                <c:pt idx="526">
                  <c:v>40518</c:v>
                </c:pt>
                <c:pt idx="527">
                  <c:v>40519</c:v>
                </c:pt>
                <c:pt idx="528">
                  <c:v>40520</c:v>
                </c:pt>
                <c:pt idx="529">
                  <c:v>40521</c:v>
                </c:pt>
                <c:pt idx="530">
                  <c:v>40522</c:v>
                </c:pt>
                <c:pt idx="531">
                  <c:v>40525</c:v>
                </c:pt>
                <c:pt idx="532">
                  <c:v>40526</c:v>
                </c:pt>
                <c:pt idx="533">
                  <c:v>40527</c:v>
                </c:pt>
                <c:pt idx="534">
                  <c:v>40528</c:v>
                </c:pt>
                <c:pt idx="535">
                  <c:v>40529</c:v>
                </c:pt>
                <c:pt idx="536">
                  <c:v>40532</c:v>
                </c:pt>
                <c:pt idx="537">
                  <c:v>40533</c:v>
                </c:pt>
                <c:pt idx="538">
                  <c:v>40534</c:v>
                </c:pt>
                <c:pt idx="539">
                  <c:v>40535</c:v>
                </c:pt>
                <c:pt idx="540">
                  <c:v>40536</c:v>
                </c:pt>
                <c:pt idx="541">
                  <c:v>40539</c:v>
                </c:pt>
                <c:pt idx="542">
                  <c:v>40540</c:v>
                </c:pt>
                <c:pt idx="543">
                  <c:v>40541</c:v>
                </c:pt>
                <c:pt idx="544">
                  <c:v>40542</c:v>
                </c:pt>
                <c:pt idx="545">
                  <c:v>40543</c:v>
                </c:pt>
                <c:pt idx="546">
                  <c:v>40546</c:v>
                </c:pt>
                <c:pt idx="547">
                  <c:v>40547</c:v>
                </c:pt>
                <c:pt idx="548">
                  <c:v>40548</c:v>
                </c:pt>
                <c:pt idx="549">
                  <c:v>40549</c:v>
                </c:pt>
                <c:pt idx="550">
                  <c:v>40550</c:v>
                </c:pt>
                <c:pt idx="551">
                  <c:v>40553</c:v>
                </c:pt>
                <c:pt idx="552">
                  <c:v>40554</c:v>
                </c:pt>
                <c:pt idx="553">
                  <c:v>40555</c:v>
                </c:pt>
                <c:pt idx="554">
                  <c:v>40556</c:v>
                </c:pt>
                <c:pt idx="555">
                  <c:v>40557</c:v>
                </c:pt>
                <c:pt idx="556">
                  <c:v>40560</c:v>
                </c:pt>
                <c:pt idx="557">
                  <c:v>40561</c:v>
                </c:pt>
                <c:pt idx="558">
                  <c:v>40562</c:v>
                </c:pt>
                <c:pt idx="559">
                  <c:v>40563</c:v>
                </c:pt>
                <c:pt idx="560">
                  <c:v>40564</c:v>
                </c:pt>
                <c:pt idx="561">
                  <c:v>40567</c:v>
                </c:pt>
                <c:pt idx="562">
                  <c:v>40568</c:v>
                </c:pt>
                <c:pt idx="563">
                  <c:v>40569</c:v>
                </c:pt>
                <c:pt idx="564">
                  <c:v>40570</c:v>
                </c:pt>
                <c:pt idx="565">
                  <c:v>40571</c:v>
                </c:pt>
                <c:pt idx="566">
                  <c:v>40574</c:v>
                </c:pt>
                <c:pt idx="567">
                  <c:v>40575</c:v>
                </c:pt>
                <c:pt idx="568">
                  <c:v>40576</c:v>
                </c:pt>
                <c:pt idx="569">
                  <c:v>40577</c:v>
                </c:pt>
                <c:pt idx="570">
                  <c:v>40578</c:v>
                </c:pt>
                <c:pt idx="571">
                  <c:v>40581</c:v>
                </c:pt>
                <c:pt idx="572">
                  <c:v>40582</c:v>
                </c:pt>
                <c:pt idx="573">
                  <c:v>40583</c:v>
                </c:pt>
                <c:pt idx="574">
                  <c:v>40584</c:v>
                </c:pt>
                <c:pt idx="575">
                  <c:v>40585</c:v>
                </c:pt>
                <c:pt idx="576">
                  <c:v>40588</c:v>
                </c:pt>
                <c:pt idx="577">
                  <c:v>40589</c:v>
                </c:pt>
                <c:pt idx="578">
                  <c:v>40590</c:v>
                </c:pt>
                <c:pt idx="579">
                  <c:v>40591</c:v>
                </c:pt>
                <c:pt idx="580">
                  <c:v>40592</c:v>
                </c:pt>
                <c:pt idx="581">
                  <c:v>40595</c:v>
                </c:pt>
                <c:pt idx="582">
                  <c:v>40596</c:v>
                </c:pt>
                <c:pt idx="583">
                  <c:v>40597</c:v>
                </c:pt>
                <c:pt idx="584">
                  <c:v>40598</c:v>
                </c:pt>
                <c:pt idx="585">
                  <c:v>40599</c:v>
                </c:pt>
                <c:pt idx="586">
                  <c:v>40602</c:v>
                </c:pt>
                <c:pt idx="587">
                  <c:v>40603</c:v>
                </c:pt>
                <c:pt idx="588">
                  <c:v>40604</c:v>
                </c:pt>
                <c:pt idx="589">
                  <c:v>40605</c:v>
                </c:pt>
                <c:pt idx="590">
                  <c:v>40606</c:v>
                </c:pt>
                <c:pt idx="591">
                  <c:v>40609</c:v>
                </c:pt>
                <c:pt idx="592">
                  <c:v>40610</c:v>
                </c:pt>
                <c:pt idx="593">
                  <c:v>40611</c:v>
                </c:pt>
                <c:pt idx="594">
                  <c:v>40612</c:v>
                </c:pt>
                <c:pt idx="595">
                  <c:v>40613</c:v>
                </c:pt>
                <c:pt idx="596">
                  <c:v>40616</c:v>
                </c:pt>
                <c:pt idx="597">
                  <c:v>40617</c:v>
                </c:pt>
                <c:pt idx="598">
                  <c:v>40618</c:v>
                </c:pt>
                <c:pt idx="599">
                  <c:v>40619</c:v>
                </c:pt>
                <c:pt idx="600">
                  <c:v>40620</c:v>
                </c:pt>
                <c:pt idx="601">
                  <c:v>40623</c:v>
                </c:pt>
                <c:pt idx="602">
                  <c:v>40624</c:v>
                </c:pt>
                <c:pt idx="603">
                  <c:v>40625</c:v>
                </c:pt>
                <c:pt idx="604">
                  <c:v>40626</c:v>
                </c:pt>
                <c:pt idx="605">
                  <c:v>40627</c:v>
                </c:pt>
                <c:pt idx="606">
                  <c:v>40630</c:v>
                </c:pt>
                <c:pt idx="607">
                  <c:v>40631</c:v>
                </c:pt>
                <c:pt idx="608">
                  <c:v>40632</c:v>
                </c:pt>
                <c:pt idx="609">
                  <c:v>40633</c:v>
                </c:pt>
                <c:pt idx="610">
                  <c:v>40634</c:v>
                </c:pt>
                <c:pt idx="611">
                  <c:v>40637</c:v>
                </c:pt>
                <c:pt idx="612">
                  <c:v>40638</c:v>
                </c:pt>
                <c:pt idx="613">
                  <c:v>40639</c:v>
                </c:pt>
                <c:pt idx="614">
                  <c:v>40640</c:v>
                </c:pt>
                <c:pt idx="615">
                  <c:v>40641</c:v>
                </c:pt>
                <c:pt idx="616">
                  <c:v>40644</c:v>
                </c:pt>
                <c:pt idx="617">
                  <c:v>40645</c:v>
                </c:pt>
                <c:pt idx="618">
                  <c:v>40646</c:v>
                </c:pt>
                <c:pt idx="619">
                  <c:v>40647</c:v>
                </c:pt>
                <c:pt idx="620">
                  <c:v>40648</c:v>
                </c:pt>
                <c:pt idx="621">
                  <c:v>40651</c:v>
                </c:pt>
                <c:pt idx="622">
                  <c:v>40652</c:v>
                </c:pt>
                <c:pt idx="623">
                  <c:v>40653</c:v>
                </c:pt>
                <c:pt idx="624">
                  <c:v>40654</c:v>
                </c:pt>
                <c:pt idx="625">
                  <c:v>40659</c:v>
                </c:pt>
                <c:pt idx="626">
                  <c:v>40660</c:v>
                </c:pt>
                <c:pt idx="627">
                  <c:v>40661</c:v>
                </c:pt>
                <c:pt idx="628">
                  <c:v>40662</c:v>
                </c:pt>
                <c:pt idx="629">
                  <c:v>40665</c:v>
                </c:pt>
                <c:pt idx="630">
                  <c:v>40666</c:v>
                </c:pt>
                <c:pt idx="631">
                  <c:v>40667</c:v>
                </c:pt>
                <c:pt idx="632">
                  <c:v>40668</c:v>
                </c:pt>
                <c:pt idx="633">
                  <c:v>40669</c:v>
                </c:pt>
                <c:pt idx="634">
                  <c:v>40672</c:v>
                </c:pt>
                <c:pt idx="635">
                  <c:v>40673</c:v>
                </c:pt>
                <c:pt idx="636">
                  <c:v>40674</c:v>
                </c:pt>
                <c:pt idx="637">
                  <c:v>40675</c:v>
                </c:pt>
                <c:pt idx="638">
                  <c:v>40676</c:v>
                </c:pt>
                <c:pt idx="639">
                  <c:v>40679</c:v>
                </c:pt>
                <c:pt idx="640">
                  <c:v>40680</c:v>
                </c:pt>
                <c:pt idx="641">
                  <c:v>40681</c:v>
                </c:pt>
                <c:pt idx="642">
                  <c:v>40682</c:v>
                </c:pt>
                <c:pt idx="643">
                  <c:v>40683</c:v>
                </c:pt>
                <c:pt idx="644">
                  <c:v>40686</c:v>
                </c:pt>
                <c:pt idx="645">
                  <c:v>40687</c:v>
                </c:pt>
                <c:pt idx="646">
                  <c:v>40688</c:v>
                </c:pt>
                <c:pt idx="647">
                  <c:v>40689</c:v>
                </c:pt>
                <c:pt idx="648">
                  <c:v>40690</c:v>
                </c:pt>
                <c:pt idx="649">
                  <c:v>40693</c:v>
                </c:pt>
                <c:pt idx="650">
                  <c:v>40694</c:v>
                </c:pt>
                <c:pt idx="651">
                  <c:v>40695</c:v>
                </c:pt>
                <c:pt idx="652">
                  <c:v>40696</c:v>
                </c:pt>
                <c:pt idx="653">
                  <c:v>40697</c:v>
                </c:pt>
                <c:pt idx="654">
                  <c:v>40700</c:v>
                </c:pt>
                <c:pt idx="655">
                  <c:v>40701</c:v>
                </c:pt>
                <c:pt idx="656">
                  <c:v>40702</c:v>
                </c:pt>
                <c:pt idx="657">
                  <c:v>40703</c:v>
                </c:pt>
                <c:pt idx="658">
                  <c:v>40704</c:v>
                </c:pt>
                <c:pt idx="659">
                  <c:v>40707</c:v>
                </c:pt>
                <c:pt idx="660">
                  <c:v>40708</c:v>
                </c:pt>
                <c:pt idx="661">
                  <c:v>40709</c:v>
                </c:pt>
                <c:pt idx="662">
                  <c:v>40710</c:v>
                </c:pt>
                <c:pt idx="663">
                  <c:v>40711</c:v>
                </c:pt>
                <c:pt idx="664">
                  <c:v>40714</c:v>
                </c:pt>
                <c:pt idx="665">
                  <c:v>40715</c:v>
                </c:pt>
                <c:pt idx="666">
                  <c:v>40716</c:v>
                </c:pt>
                <c:pt idx="667">
                  <c:v>40717</c:v>
                </c:pt>
                <c:pt idx="668">
                  <c:v>40718</c:v>
                </c:pt>
                <c:pt idx="669">
                  <c:v>40721</c:v>
                </c:pt>
                <c:pt idx="670">
                  <c:v>40722</c:v>
                </c:pt>
                <c:pt idx="671">
                  <c:v>40723</c:v>
                </c:pt>
                <c:pt idx="672">
                  <c:v>40724</c:v>
                </c:pt>
                <c:pt idx="673">
                  <c:v>40725</c:v>
                </c:pt>
                <c:pt idx="674">
                  <c:v>40728</c:v>
                </c:pt>
                <c:pt idx="675">
                  <c:v>40729</c:v>
                </c:pt>
                <c:pt idx="676">
                  <c:v>40730</c:v>
                </c:pt>
                <c:pt idx="677">
                  <c:v>40731</c:v>
                </c:pt>
                <c:pt idx="678">
                  <c:v>40732</c:v>
                </c:pt>
                <c:pt idx="679">
                  <c:v>40735</c:v>
                </c:pt>
                <c:pt idx="680">
                  <c:v>40736</c:v>
                </c:pt>
                <c:pt idx="681">
                  <c:v>40737</c:v>
                </c:pt>
                <c:pt idx="682">
                  <c:v>40738</c:v>
                </c:pt>
                <c:pt idx="683">
                  <c:v>40739</c:v>
                </c:pt>
                <c:pt idx="684">
                  <c:v>40742</c:v>
                </c:pt>
                <c:pt idx="685">
                  <c:v>40743</c:v>
                </c:pt>
                <c:pt idx="686">
                  <c:v>40744</c:v>
                </c:pt>
                <c:pt idx="687">
                  <c:v>40745</c:v>
                </c:pt>
                <c:pt idx="688">
                  <c:v>40746</c:v>
                </c:pt>
                <c:pt idx="689">
                  <c:v>40749</c:v>
                </c:pt>
                <c:pt idx="690">
                  <c:v>40750</c:v>
                </c:pt>
                <c:pt idx="691">
                  <c:v>40751</c:v>
                </c:pt>
                <c:pt idx="692">
                  <c:v>40752</c:v>
                </c:pt>
                <c:pt idx="693">
                  <c:v>40753</c:v>
                </c:pt>
                <c:pt idx="694">
                  <c:v>40756</c:v>
                </c:pt>
                <c:pt idx="695">
                  <c:v>40757</c:v>
                </c:pt>
                <c:pt idx="696">
                  <c:v>40758</c:v>
                </c:pt>
                <c:pt idx="697">
                  <c:v>40759</c:v>
                </c:pt>
                <c:pt idx="698">
                  <c:v>40760</c:v>
                </c:pt>
                <c:pt idx="699">
                  <c:v>40763</c:v>
                </c:pt>
                <c:pt idx="700">
                  <c:v>40764</c:v>
                </c:pt>
                <c:pt idx="701">
                  <c:v>40765</c:v>
                </c:pt>
                <c:pt idx="702">
                  <c:v>40766</c:v>
                </c:pt>
                <c:pt idx="703">
                  <c:v>40767</c:v>
                </c:pt>
                <c:pt idx="704">
                  <c:v>40770</c:v>
                </c:pt>
                <c:pt idx="705">
                  <c:v>40771</c:v>
                </c:pt>
                <c:pt idx="706">
                  <c:v>40772</c:v>
                </c:pt>
                <c:pt idx="707">
                  <c:v>40773</c:v>
                </c:pt>
                <c:pt idx="708">
                  <c:v>40774</c:v>
                </c:pt>
                <c:pt idx="709">
                  <c:v>40777</c:v>
                </c:pt>
                <c:pt idx="710">
                  <c:v>40778</c:v>
                </c:pt>
                <c:pt idx="711">
                  <c:v>40779</c:v>
                </c:pt>
                <c:pt idx="712">
                  <c:v>40780</c:v>
                </c:pt>
                <c:pt idx="713">
                  <c:v>40781</c:v>
                </c:pt>
                <c:pt idx="714">
                  <c:v>40784</c:v>
                </c:pt>
                <c:pt idx="715">
                  <c:v>40785</c:v>
                </c:pt>
                <c:pt idx="716">
                  <c:v>40786</c:v>
                </c:pt>
                <c:pt idx="717">
                  <c:v>40787</c:v>
                </c:pt>
                <c:pt idx="718">
                  <c:v>40788</c:v>
                </c:pt>
                <c:pt idx="719">
                  <c:v>40791</c:v>
                </c:pt>
                <c:pt idx="720">
                  <c:v>40792</c:v>
                </c:pt>
                <c:pt idx="721">
                  <c:v>40793</c:v>
                </c:pt>
                <c:pt idx="722">
                  <c:v>40794</c:v>
                </c:pt>
                <c:pt idx="723">
                  <c:v>40795</c:v>
                </c:pt>
                <c:pt idx="724">
                  <c:v>40798</c:v>
                </c:pt>
                <c:pt idx="725">
                  <c:v>40799</c:v>
                </c:pt>
                <c:pt idx="726">
                  <c:v>40800</c:v>
                </c:pt>
                <c:pt idx="727">
                  <c:v>40801</c:v>
                </c:pt>
                <c:pt idx="728">
                  <c:v>40802</c:v>
                </c:pt>
                <c:pt idx="729">
                  <c:v>40805</c:v>
                </c:pt>
                <c:pt idx="730">
                  <c:v>40806</c:v>
                </c:pt>
                <c:pt idx="731">
                  <c:v>40807</c:v>
                </c:pt>
                <c:pt idx="732">
                  <c:v>40808</c:v>
                </c:pt>
                <c:pt idx="733">
                  <c:v>40809</c:v>
                </c:pt>
                <c:pt idx="734">
                  <c:v>40812</c:v>
                </c:pt>
                <c:pt idx="735">
                  <c:v>40813</c:v>
                </c:pt>
                <c:pt idx="736">
                  <c:v>40814</c:v>
                </c:pt>
                <c:pt idx="737">
                  <c:v>40815</c:v>
                </c:pt>
                <c:pt idx="738">
                  <c:v>40816</c:v>
                </c:pt>
                <c:pt idx="739">
                  <c:v>40819</c:v>
                </c:pt>
                <c:pt idx="740">
                  <c:v>40820</c:v>
                </c:pt>
                <c:pt idx="741">
                  <c:v>40821</c:v>
                </c:pt>
                <c:pt idx="742">
                  <c:v>40822</c:v>
                </c:pt>
                <c:pt idx="743">
                  <c:v>40823</c:v>
                </c:pt>
                <c:pt idx="744">
                  <c:v>40826</c:v>
                </c:pt>
                <c:pt idx="745">
                  <c:v>40827</c:v>
                </c:pt>
                <c:pt idx="746">
                  <c:v>40828</c:v>
                </c:pt>
                <c:pt idx="747">
                  <c:v>40829</c:v>
                </c:pt>
                <c:pt idx="748">
                  <c:v>40830</c:v>
                </c:pt>
                <c:pt idx="749">
                  <c:v>40833</c:v>
                </c:pt>
                <c:pt idx="750">
                  <c:v>40834</c:v>
                </c:pt>
                <c:pt idx="751">
                  <c:v>40835</c:v>
                </c:pt>
                <c:pt idx="752">
                  <c:v>40836</c:v>
                </c:pt>
                <c:pt idx="753">
                  <c:v>40837</c:v>
                </c:pt>
                <c:pt idx="754">
                  <c:v>40840</c:v>
                </c:pt>
                <c:pt idx="755">
                  <c:v>40841</c:v>
                </c:pt>
                <c:pt idx="756">
                  <c:v>40842</c:v>
                </c:pt>
                <c:pt idx="757">
                  <c:v>40843</c:v>
                </c:pt>
                <c:pt idx="758">
                  <c:v>40844</c:v>
                </c:pt>
                <c:pt idx="759">
                  <c:v>40847</c:v>
                </c:pt>
                <c:pt idx="760">
                  <c:v>40848</c:v>
                </c:pt>
                <c:pt idx="761">
                  <c:v>40849</c:v>
                </c:pt>
                <c:pt idx="762">
                  <c:v>40850</c:v>
                </c:pt>
                <c:pt idx="763">
                  <c:v>40851</c:v>
                </c:pt>
                <c:pt idx="764">
                  <c:v>40854</c:v>
                </c:pt>
                <c:pt idx="765">
                  <c:v>40855</c:v>
                </c:pt>
                <c:pt idx="766">
                  <c:v>40856</c:v>
                </c:pt>
                <c:pt idx="767">
                  <c:v>40857</c:v>
                </c:pt>
                <c:pt idx="768">
                  <c:v>40858</c:v>
                </c:pt>
                <c:pt idx="769">
                  <c:v>40861</c:v>
                </c:pt>
                <c:pt idx="770">
                  <c:v>40862</c:v>
                </c:pt>
                <c:pt idx="771">
                  <c:v>40863</c:v>
                </c:pt>
                <c:pt idx="772">
                  <c:v>40864</c:v>
                </c:pt>
                <c:pt idx="773">
                  <c:v>40865</c:v>
                </c:pt>
                <c:pt idx="774">
                  <c:v>40868</c:v>
                </c:pt>
                <c:pt idx="775">
                  <c:v>40869</c:v>
                </c:pt>
                <c:pt idx="776">
                  <c:v>40870</c:v>
                </c:pt>
                <c:pt idx="777">
                  <c:v>40871</c:v>
                </c:pt>
                <c:pt idx="778">
                  <c:v>40872</c:v>
                </c:pt>
                <c:pt idx="779">
                  <c:v>40875</c:v>
                </c:pt>
                <c:pt idx="780">
                  <c:v>40876</c:v>
                </c:pt>
                <c:pt idx="781">
                  <c:v>40877</c:v>
                </c:pt>
                <c:pt idx="782">
                  <c:v>40878</c:v>
                </c:pt>
                <c:pt idx="783">
                  <c:v>40879</c:v>
                </c:pt>
                <c:pt idx="784">
                  <c:v>40882</c:v>
                </c:pt>
                <c:pt idx="785">
                  <c:v>40883</c:v>
                </c:pt>
                <c:pt idx="786">
                  <c:v>40884</c:v>
                </c:pt>
                <c:pt idx="787">
                  <c:v>40885</c:v>
                </c:pt>
                <c:pt idx="788">
                  <c:v>40886</c:v>
                </c:pt>
                <c:pt idx="789">
                  <c:v>40889</c:v>
                </c:pt>
                <c:pt idx="790">
                  <c:v>40890</c:v>
                </c:pt>
                <c:pt idx="791">
                  <c:v>40891</c:v>
                </c:pt>
                <c:pt idx="792">
                  <c:v>40892</c:v>
                </c:pt>
                <c:pt idx="793">
                  <c:v>40893</c:v>
                </c:pt>
                <c:pt idx="794">
                  <c:v>40896</c:v>
                </c:pt>
                <c:pt idx="795">
                  <c:v>40897</c:v>
                </c:pt>
                <c:pt idx="796">
                  <c:v>40898</c:v>
                </c:pt>
                <c:pt idx="797">
                  <c:v>40899</c:v>
                </c:pt>
                <c:pt idx="798">
                  <c:v>40900</c:v>
                </c:pt>
                <c:pt idx="799">
                  <c:v>40904</c:v>
                </c:pt>
                <c:pt idx="800">
                  <c:v>40905</c:v>
                </c:pt>
                <c:pt idx="801">
                  <c:v>40906</c:v>
                </c:pt>
                <c:pt idx="802">
                  <c:v>40907</c:v>
                </c:pt>
                <c:pt idx="803">
                  <c:v>40910</c:v>
                </c:pt>
                <c:pt idx="804">
                  <c:v>40911</c:v>
                </c:pt>
                <c:pt idx="805">
                  <c:v>40912</c:v>
                </c:pt>
                <c:pt idx="806">
                  <c:v>40913</c:v>
                </c:pt>
                <c:pt idx="807">
                  <c:v>40914</c:v>
                </c:pt>
                <c:pt idx="808">
                  <c:v>40917</c:v>
                </c:pt>
                <c:pt idx="809">
                  <c:v>40918</c:v>
                </c:pt>
                <c:pt idx="810">
                  <c:v>40919</c:v>
                </c:pt>
                <c:pt idx="811">
                  <c:v>40920</c:v>
                </c:pt>
                <c:pt idx="812">
                  <c:v>40921</c:v>
                </c:pt>
                <c:pt idx="813">
                  <c:v>40924</c:v>
                </c:pt>
                <c:pt idx="814">
                  <c:v>40925</c:v>
                </c:pt>
                <c:pt idx="815">
                  <c:v>40926</c:v>
                </c:pt>
                <c:pt idx="816">
                  <c:v>40927</c:v>
                </c:pt>
                <c:pt idx="817">
                  <c:v>40928</c:v>
                </c:pt>
                <c:pt idx="818">
                  <c:v>40931</c:v>
                </c:pt>
                <c:pt idx="819">
                  <c:v>40932</c:v>
                </c:pt>
                <c:pt idx="820">
                  <c:v>40933</c:v>
                </c:pt>
                <c:pt idx="821">
                  <c:v>40934</c:v>
                </c:pt>
                <c:pt idx="822">
                  <c:v>40935</c:v>
                </c:pt>
                <c:pt idx="823">
                  <c:v>40938</c:v>
                </c:pt>
                <c:pt idx="824">
                  <c:v>40939</c:v>
                </c:pt>
                <c:pt idx="825">
                  <c:v>40940</c:v>
                </c:pt>
                <c:pt idx="826">
                  <c:v>40941</c:v>
                </c:pt>
                <c:pt idx="827">
                  <c:v>40942</c:v>
                </c:pt>
                <c:pt idx="828">
                  <c:v>40945</c:v>
                </c:pt>
                <c:pt idx="829">
                  <c:v>40946</c:v>
                </c:pt>
                <c:pt idx="830">
                  <c:v>40947</c:v>
                </c:pt>
                <c:pt idx="831">
                  <c:v>40948</c:v>
                </c:pt>
                <c:pt idx="832">
                  <c:v>40949</c:v>
                </c:pt>
                <c:pt idx="833">
                  <c:v>40952</c:v>
                </c:pt>
                <c:pt idx="834">
                  <c:v>40953</c:v>
                </c:pt>
                <c:pt idx="835">
                  <c:v>40954</c:v>
                </c:pt>
                <c:pt idx="836">
                  <c:v>40955</c:v>
                </c:pt>
                <c:pt idx="837">
                  <c:v>40956</c:v>
                </c:pt>
                <c:pt idx="838">
                  <c:v>40959</c:v>
                </c:pt>
                <c:pt idx="839">
                  <c:v>40960</c:v>
                </c:pt>
                <c:pt idx="840">
                  <c:v>40961</c:v>
                </c:pt>
                <c:pt idx="841">
                  <c:v>40962</c:v>
                </c:pt>
                <c:pt idx="842">
                  <c:v>40963</c:v>
                </c:pt>
                <c:pt idx="843">
                  <c:v>40966</c:v>
                </c:pt>
                <c:pt idx="844">
                  <c:v>40967</c:v>
                </c:pt>
                <c:pt idx="845">
                  <c:v>40968</c:v>
                </c:pt>
                <c:pt idx="846">
                  <c:v>40969</c:v>
                </c:pt>
                <c:pt idx="847">
                  <c:v>40970</c:v>
                </c:pt>
                <c:pt idx="848">
                  <c:v>40973</c:v>
                </c:pt>
                <c:pt idx="849">
                  <c:v>40974</c:v>
                </c:pt>
                <c:pt idx="850">
                  <c:v>40975</c:v>
                </c:pt>
                <c:pt idx="851">
                  <c:v>40976</c:v>
                </c:pt>
                <c:pt idx="852">
                  <c:v>40977</c:v>
                </c:pt>
                <c:pt idx="853">
                  <c:v>40980</c:v>
                </c:pt>
                <c:pt idx="854">
                  <c:v>40981</c:v>
                </c:pt>
                <c:pt idx="855">
                  <c:v>40982</c:v>
                </c:pt>
                <c:pt idx="856">
                  <c:v>40983</c:v>
                </c:pt>
                <c:pt idx="857">
                  <c:v>40984</c:v>
                </c:pt>
                <c:pt idx="858">
                  <c:v>40987</c:v>
                </c:pt>
                <c:pt idx="859">
                  <c:v>40988</c:v>
                </c:pt>
                <c:pt idx="860">
                  <c:v>40989</c:v>
                </c:pt>
                <c:pt idx="861">
                  <c:v>40990</c:v>
                </c:pt>
                <c:pt idx="862">
                  <c:v>40991</c:v>
                </c:pt>
                <c:pt idx="863">
                  <c:v>40994</c:v>
                </c:pt>
                <c:pt idx="864">
                  <c:v>40995</c:v>
                </c:pt>
                <c:pt idx="865">
                  <c:v>40996</c:v>
                </c:pt>
                <c:pt idx="866">
                  <c:v>40997</c:v>
                </c:pt>
                <c:pt idx="867">
                  <c:v>40998</c:v>
                </c:pt>
                <c:pt idx="868">
                  <c:v>41001</c:v>
                </c:pt>
                <c:pt idx="869">
                  <c:v>41002</c:v>
                </c:pt>
                <c:pt idx="870">
                  <c:v>41003</c:v>
                </c:pt>
                <c:pt idx="871">
                  <c:v>41004</c:v>
                </c:pt>
                <c:pt idx="872">
                  <c:v>41009</c:v>
                </c:pt>
                <c:pt idx="873">
                  <c:v>41010</c:v>
                </c:pt>
                <c:pt idx="874">
                  <c:v>41011</c:v>
                </c:pt>
                <c:pt idx="875">
                  <c:v>41012</c:v>
                </c:pt>
                <c:pt idx="876">
                  <c:v>41015</c:v>
                </c:pt>
                <c:pt idx="877">
                  <c:v>41016</c:v>
                </c:pt>
                <c:pt idx="878">
                  <c:v>41017</c:v>
                </c:pt>
                <c:pt idx="879">
                  <c:v>41018</c:v>
                </c:pt>
                <c:pt idx="880">
                  <c:v>41019</c:v>
                </c:pt>
                <c:pt idx="881">
                  <c:v>41022</c:v>
                </c:pt>
                <c:pt idx="882">
                  <c:v>41023</c:v>
                </c:pt>
                <c:pt idx="883">
                  <c:v>41024</c:v>
                </c:pt>
                <c:pt idx="884">
                  <c:v>41025</c:v>
                </c:pt>
                <c:pt idx="885">
                  <c:v>41026</c:v>
                </c:pt>
                <c:pt idx="886">
                  <c:v>41029</c:v>
                </c:pt>
                <c:pt idx="887">
                  <c:v>41030</c:v>
                </c:pt>
                <c:pt idx="888">
                  <c:v>41031</c:v>
                </c:pt>
                <c:pt idx="889">
                  <c:v>41032</c:v>
                </c:pt>
                <c:pt idx="890">
                  <c:v>41033</c:v>
                </c:pt>
                <c:pt idx="891">
                  <c:v>41036</c:v>
                </c:pt>
                <c:pt idx="892">
                  <c:v>41037</c:v>
                </c:pt>
                <c:pt idx="893">
                  <c:v>41038</c:v>
                </c:pt>
                <c:pt idx="894">
                  <c:v>41039</c:v>
                </c:pt>
                <c:pt idx="895">
                  <c:v>41040</c:v>
                </c:pt>
                <c:pt idx="896">
                  <c:v>41043</c:v>
                </c:pt>
                <c:pt idx="897">
                  <c:v>41044</c:v>
                </c:pt>
                <c:pt idx="898">
                  <c:v>41045</c:v>
                </c:pt>
                <c:pt idx="899">
                  <c:v>41046</c:v>
                </c:pt>
                <c:pt idx="900">
                  <c:v>41047</c:v>
                </c:pt>
                <c:pt idx="901">
                  <c:v>41050</c:v>
                </c:pt>
                <c:pt idx="902">
                  <c:v>41051</c:v>
                </c:pt>
                <c:pt idx="903">
                  <c:v>41052</c:v>
                </c:pt>
                <c:pt idx="904">
                  <c:v>41053</c:v>
                </c:pt>
                <c:pt idx="905">
                  <c:v>41054</c:v>
                </c:pt>
                <c:pt idx="906">
                  <c:v>41057</c:v>
                </c:pt>
                <c:pt idx="907">
                  <c:v>41058</c:v>
                </c:pt>
                <c:pt idx="908">
                  <c:v>41059</c:v>
                </c:pt>
                <c:pt idx="909">
                  <c:v>41060</c:v>
                </c:pt>
                <c:pt idx="910">
                  <c:v>41061</c:v>
                </c:pt>
                <c:pt idx="911">
                  <c:v>41064</c:v>
                </c:pt>
                <c:pt idx="912">
                  <c:v>41065</c:v>
                </c:pt>
                <c:pt idx="913">
                  <c:v>41066</c:v>
                </c:pt>
                <c:pt idx="914">
                  <c:v>41067</c:v>
                </c:pt>
                <c:pt idx="915">
                  <c:v>41068</c:v>
                </c:pt>
                <c:pt idx="916">
                  <c:v>41071</c:v>
                </c:pt>
                <c:pt idx="917">
                  <c:v>41072</c:v>
                </c:pt>
                <c:pt idx="918">
                  <c:v>41073</c:v>
                </c:pt>
                <c:pt idx="919">
                  <c:v>41074</c:v>
                </c:pt>
                <c:pt idx="920">
                  <c:v>41075</c:v>
                </c:pt>
                <c:pt idx="921">
                  <c:v>41078</c:v>
                </c:pt>
                <c:pt idx="922">
                  <c:v>41079</c:v>
                </c:pt>
                <c:pt idx="923">
                  <c:v>41080</c:v>
                </c:pt>
                <c:pt idx="924">
                  <c:v>41081</c:v>
                </c:pt>
                <c:pt idx="925">
                  <c:v>41082</c:v>
                </c:pt>
                <c:pt idx="926">
                  <c:v>41085</c:v>
                </c:pt>
                <c:pt idx="927">
                  <c:v>41086</c:v>
                </c:pt>
                <c:pt idx="928">
                  <c:v>41087</c:v>
                </c:pt>
                <c:pt idx="929">
                  <c:v>41088</c:v>
                </c:pt>
                <c:pt idx="930">
                  <c:v>41089</c:v>
                </c:pt>
                <c:pt idx="931">
                  <c:v>41092</c:v>
                </c:pt>
                <c:pt idx="932">
                  <c:v>41093</c:v>
                </c:pt>
                <c:pt idx="933">
                  <c:v>41094</c:v>
                </c:pt>
                <c:pt idx="934">
                  <c:v>41095</c:v>
                </c:pt>
                <c:pt idx="935">
                  <c:v>41096</c:v>
                </c:pt>
                <c:pt idx="936">
                  <c:v>41099</c:v>
                </c:pt>
                <c:pt idx="937">
                  <c:v>41100</c:v>
                </c:pt>
                <c:pt idx="938">
                  <c:v>41101</c:v>
                </c:pt>
                <c:pt idx="939">
                  <c:v>41102</c:v>
                </c:pt>
                <c:pt idx="940">
                  <c:v>41103</c:v>
                </c:pt>
                <c:pt idx="941">
                  <c:v>41106</c:v>
                </c:pt>
                <c:pt idx="942">
                  <c:v>41107</c:v>
                </c:pt>
                <c:pt idx="943">
                  <c:v>41108</c:v>
                </c:pt>
                <c:pt idx="944">
                  <c:v>41109</c:v>
                </c:pt>
                <c:pt idx="945">
                  <c:v>41110</c:v>
                </c:pt>
                <c:pt idx="946">
                  <c:v>41113</c:v>
                </c:pt>
                <c:pt idx="947">
                  <c:v>41114</c:v>
                </c:pt>
                <c:pt idx="948">
                  <c:v>41115</c:v>
                </c:pt>
                <c:pt idx="949">
                  <c:v>41116</c:v>
                </c:pt>
                <c:pt idx="950">
                  <c:v>41117</c:v>
                </c:pt>
                <c:pt idx="951">
                  <c:v>41120</c:v>
                </c:pt>
                <c:pt idx="952">
                  <c:v>41121</c:v>
                </c:pt>
                <c:pt idx="953">
                  <c:v>41122</c:v>
                </c:pt>
                <c:pt idx="954">
                  <c:v>41123</c:v>
                </c:pt>
                <c:pt idx="955">
                  <c:v>41124</c:v>
                </c:pt>
                <c:pt idx="956">
                  <c:v>41127</c:v>
                </c:pt>
                <c:pt idx="957">
                  <c:v>41128</c:v>
                </c:pt>
                <c:pt idx="958">
                  <c:v>41129</c:v>
                </c:pt>
                <c:pt idx="959">
                  <c:v>41130</c:v>
                </c:pt>
                <c:pt idx="960">
                  <c:v>41131</c:v>
                </c:pt>
                <c:pt idx="961">
                  <c:v>41134</c:v>
                </c:pt>
                <c:pt idx="962">
                  <c:v>41135</c:v>
                </c:pt>
                <c:pt idx="963">
                  <c:v>41136</c:v>
                </c:pt>
                <c:pt idx="964">
                  <c:v>41137</c:v>
                </c:pt>
                <c:pt idx="965">
                  <c:v>41138</c:v>
                </c:pt>
                <c:pt idx="966">
                  <c:v>41141</c:v>
                </c:pt>
                <c:pt idx="967">
                  <c:v>41142</c:v>
                </c:pt>
                <c:pt idx="968">
                  <c:v>41143</c:v>
                </c:pt>
                <c:pt idx="969">
                  <c:v>41144</c:v>
                </c:pt>
                <c:pt idx="970">
                  <c:v>41145</c:v>
                </c:pt>
                <c:pt idx="971">
                  <c:v>41148</c:v>
                </c:pt>
                <c:pt idx="972">
                  <c:v>41149</c:v>
                </c:pt>
                <c:pt idx="973">
                  <c:v>41150</c:v>
                </c:pt>
                <c:pt idx="974">
                  <c:v>41151</c:v>
                </c:pt>
                <c:pt idx="975">
                  <c:v>41152</c:v>
                </c:pt>
                <c:pt idx="976">
                  <c:v>41155</c:v>
                </c:pt>
                <c:pt idx="977">
                  <c:v>41156</c:v>
                </c:pt>
                <c:pt idx="978">
                  <c:v>41157</c:v>
                </c:pt>
                <c:pt idx="979">
                  <c:v>41158</c:v>
                </c:pt>
                <c:pt idx="980">
                  <c:v>41159</c:v>
                </c:pt>
                <c:pt idx="981">
                  <c:v>41162</c:v>
                </c:pt>
                <c:pt idx="982">
                  <c:v>41163</c:v>
                </c:pt>
                <c:pt idx="983">
                  <c:v>41164</c:v>
                </c:pt>
                <c:pt idx="984">
                  <c:v>41165</c:v>
                </c:pt>
                <c:pt idx="985">
                  <c:v>41166</c:v>
                </c:pt>
                <c:pt idx="986">
                  <c:v>41169</c:v>
                </c:pt>
                <c:pt idx="987">
                  <c:v>41170</c:v>
                </c:pt>
                <c:pt idx="988">
                  <c:v>41171</c:v>
                </c:pt>
                <c:pt idx="989">
                  <c:v>41172</c:v>
                </c:pt>
                <c:pt idx="990">
                  <c:v>41173</c:v>
                </c:pt>
                <c:pt idx="991">
                  <c:v>41176</c:v>
                </c:pt>
                <c:pt idx="992">
                  <c:v>41177</c:v>
                </c:pt>
                <c:pt idx="993">
                  <c:v>41178</c:v>
                </c:pt>
                <c:pt idx="994">
                  <c:v>41179</c:v>
                </c:pt>
                <c:pt idx="995">
                  <c:v>41180</c:v>
                </c:pt>
                <c:pt idx="996">
                  <c:v>41183</c:v>
                </c:pt>
                <c:pt idx="997">
                  <c:v>41184</c:v>
                </c:pt>
                <c:pt idx="998">
                  <c:v>41185</c:v>
                </c:pt>
                <c:pt idx="999">
                  <c:v>41186</c:v>
                </c:pt>
                <c:pt idx="1000">
                  <c:v>41187</c:v>
                </c:pt>
                <c:pt idx="1001">
                  <c:v>41190</c:v>
                </c:pt>
                <c:pt idx="1002">
                  <c:v>41191</c:v>
                </c:pt>
                <c:pt idx="1003">
                  <c:v>41192</c:v>
                </c:pt>
                <c:pt idx="1004">
                  <c:v>41193</c:v>
                </c:pt>
                <c:pt idx="1005">
                  <c:v>41194</c:v>
                </c:pt>
                <c:pt idx="1006">
                  <c:v>41197</c:v>
                </c:pt>
                <c:pt idx="1007">
                  <c:v>41198</c:v>
                </c:pt>
                <c:pt idx="1008">
                  <c:v>41199</c:v>
                </c:pt>
                <c:pt idx="1009">
                  <c:v>41200</c:v>
                </c:pt>
                <c:pt idx="1010">
                  <c:v>41201</c:v>
                </c:pt>
                <c:pt idx="1011">
                  <c:v>41204</c:v>
                </c:pt>
                <c:pt idx="1012">
                  <c:v>41205</c:v>
                </c:pt>
                <c:pt idx="1013">
                  <c:v>41206</c:v>
                </c:pt>
                <c:pt idx="1014">
                  <c:v>41207</c:v>
                </c:pt>
                <c:pt idx="1015">
                  <c:v>41208</c:v>
                </c:pt>
                <c:pt idx="1016">
                  <c:v>41211</c:v>
                </c:pt>
                <c:pt idx="1017">
                  <c:v>41212</c:v>
                </c:pt>
                <c:pt idx="1018">
                  <c:v>41213</c:v>
                </c:pt>
                <c:pt idx="1019">
                  <c:v>41214</c:v>
                </c:pt>
                <c:pt idx="1020">
                  <c:v>41215</c:v>
                </c:pt>
                <c:pt idx="1021">
                  <c:v>41218</c:v>
                </c:pt>
                <c:pt idx="1022">
                  <c:v>41219</c:v>
                </c:pt>
                <c:pt idx="1023">
                  <c:v>41220</c:v>
                </c:pt>
                <c:pt idx="1024">
                  <c:v>41221</c:v>
                </c:pt>
                <c:pt idx="1025">
                  <c:v>41222</c:v>
                </c:pt>
                <c:pt idx="1026">
                  <c:v>41225</c:v>
                </c:pt>
                <c:pt idx="1027">
                  <c:v>41226</c:v>
                </c:pt>
                <c:pt idx="1028">
                  <c:v>41227</c:v>
                </c:pt>
                <c:pt idx="1029">
                  <c:v>41228</c:v>
                </c:pt>
                <c:pt idx="1030">
                  <c:v>41229</c:v>
                </c:pt>
                <c:pt idx="1031">
                  <c:v>41232</c:v>
                </c:pt>
                <c:pt idx="1032">
                  <c:v>41233</c:v>
                </c:pt>
                <c:pt idx="1033">
                  <c:v>41234</c:v>
                </c:pt>
                <c:pt idx="1034">
                  <c:v>41235</c:v>
                </c:pt>
                <c:pt idx="1035">
                  <c:v>41236</c:v>
                </c:pt>
                <c:pt idx="1036">
                  <c:v>41239</c:v>
                </c:pt>
                <c:pt idx="1037">
                  <c:v>41240</c:v>
                </c:pt>
                <c:pt idx="1038">
                  <c:v>41241</c:v>
                </c:pt>
                <c:pt idx="1039">
                  <c:v>41242</c:v>
                </c:pt>
                <c:pt idx="1040">
                  <c:v>41243</c:v>
                </c:pt>
                <c:pt idx="1041">
                  <c:v>41246</c:v>
                </c:pt>
                <c:pt idx="1042">
                  <c:v>41247</c:v>
                </c:pt>
                <c:pt idx="1043">
                  <c:v>41248</c:v>
                </c:pt>
                <c:pt idx="1044">
                  <c:v>41249</c:v>
                </c:pt>
                <c:pt idx="1045">
                  <c:v>41250</c:v>
                </c:pt>
                <c:pt idx="1046">
                  <c:v>41253</c:v>
                </c:pt>
                <c:pt idx="1047">
                  <c:v>41254</c:v>
                </c:pt>
                <c:pt idx="1048">
                  <c:v>41255</c:v>
                </c:pt>
                <c:pt idx="1049">
                  <c:v>41256</c:v>
                </c:pt>
                <c:pt idx="1050">
                  <c:v>41257</c:v>
                </c:pt>
                <c:pt idx="1051">
                  <c:v>41260</c:v>
                </c:pt>
                <c:pt idx="1052">
                  <c:v>41261</c:v>
                </c:pt>
                <c:pt idx="1053">
                  <c:v>41262</c:v>
                </c:pt>
                <c:pt idx="1054">
                  <c:v>41263</c:v>
                </c:pt>
                <c:pt idx="1055">
                  <c:v>41264</c:v>
                </c:pt>
                <c:pt idx="1056">
                  <c:v>41267</c:v>
                </c:pt>
                <c:pt idx="1057">
                  <c:v>41270</c:v>
                </c:pt>
                <c:pt idx="1058">
                  <c:v>41271</c:v>
                </c:pt>
                <c:pt idx="1059">
                  <c:v>41274</c:v>
                </c:pt>
                <c:pt idx="1060">
                  <c:v>41276</c:v>
                </c:pt>
                <c:pt idx="1061">
                  <c:v>41277</c:v>
                </c:pt>
                <c:pt idx="1062">
                  <c:v>41278</c:v>
                </c:pt>
                <c:pt idx="1063">
                  <c:v>41281</c:v>
                </c:pt>
                <c:pt idx="1064">
                  <c:v>41282</c:v>
                </c:pt>
                <c:pt idx="1065">
                  <c:v>41283</c:v>
                </c:pt>
                <c:pt idx="1066">
                  <c:v>41284</c:v>
                </c:pt>
                <c:pt idx="1067">
                  <c:v>41285</c:v>
                </c:pt>
                <c:pt idx="1068">
                  <c:v>41288</c:v>
                </c:pt>
                <c:pt idx="1069">
                  <c:v>41289</c:v>
                </c:pt>
                <c:pt idx="1070">
                  <c:v>41290</c:v>
                </c:pt>
                <c:pt idx="1071">
                  <c:v>41291</c:v>
                </c:pt>
                <c:pt idx="1072">
                  <c:v>41292</c:v>
                </c:pt>
                <c:pt idx="1073">
                  <c:v>41295</c:v>
                </c:pt>
                <c:pt idx="1074">
                  <c:v>41296</c:v>
                </c:pt>
                <c:pt idx="1075">
                  <c:v>41297</c:v>
                </c:pt>
                <c:pt idx="1076">
                  <c:v>41298</c:v>
                </c:pt>
                <c:pt idx="1077">
                  <c:v>41299</c:v>
                </c:pt>
                <c:pt idx="1078">
                  <c:v>41302</c:v>
                </c:pt>
                <c:pt idx="1079">
                  <c:v>41303</c:v>
                </c:pt>
                <c:pt idx="1080">
                  <c:v>41304</c:v>
                </c:pt>
                <c:pt idx="1081">
                  <c:v>41305</c:v>
                </c:pt>
                <c:pt idx="1082">
                  <c:v>41306</c:v>
                </c:pt>
                <c:pt idx="1083">
                  <c:v>41309</c:v>
                </c:pt>
                <c:pt idx="1084">
                  <c:v>41310</c:v>
                </c:pt>
                <c:pt idx="1085">
                  <c:v>41311</c:v>
                </c:pt>
                <c:pt idx="1086">
                  <c:v>41312</c:v>
                </c:pt>
                <c:pt idx="1087">
                  <c:v>41313</c:v>
                </c:pt>
                <c:pt idx="1088">
                  <c:v>41316</c:v>
                </c:pt>
                <c:pt idx="1089">
                  <c:v>41317</c:v>
                </c:pt>
                <c:pt idx="1090">
                  <c:v>41318</c:v>
                </c:pt>
                <c:pt idx="1091">
                  <c:v>41319</c:v>
                </c:pt>
                <c:pt idx="1092">
                  <c:v>41320</c:v>
                </c:pt>
                <c:pt idx="1093">
                  <c:v>41323</c:v>
                </c:pt>
                <c:pt idx="1094">
                  <c:v>41324</c:v>
                </c:pt>
                <c:pt idx="1095">
                  <c:v>41325</c:v>
                </c:pt>
                <c:pt idx="1096">
                  <c:v>41326</c:v>
                </c:pt>
                <c:pt idx="1097">
                  <c:v>41327</c:v>
                </c:pt>
                <c:pt idx="1098">
                  <c:v>41330</c:v>
                </c:pt>
                <c:pt idx="1099">
                  <c:v>41331</c:v>
                </c:pt>
                <c:pt idx="1100">
                  <c:v>41332</c:v>
                </c:pt>
                <c:pt idx="1101">
                  <c:v>41333</c:v>
                </c:pt>
                <c:pt idx="1102">
                  <c:v>41334</c:v>
                </c:pt>
                <c:pt idx="1103">
                  <c:v>41337</c:v>
                </c:pt>
                <c:pt idx="1104">
                  <c:v>41338</c:v>
                </c:pt>
                <c:pt idx="1105">
                  <c:v>41339</c:v>
                </c:pt>
                <c:pt idx="1106">
                  <c:v>41340</c:v>
                </c:pt>
                <c:pt idx="1107">
                  <c:v>41341</c:v>
                </c:pt>
                <c:pt idx="1108">
                  <c:v>41344</c:v>
                </c:pt>
                <c:pt idx="1109">
                  <c:v>41345</c:v>
                </c:pt>
                <c:pt idx="1110">
                  <c:v>41346</c:v>
                </c:pt>
                <c:pt idx="1111">
                  <c:v>41347</c:v>
                </c:pt>
                <c:pt idx="1112">
                  <c:v>41348</c:v>
                </c:pt>
                <c:pt idx="1113">
                  <c:v>41351</c:v>
                </c:pt>
                <c:pt idx="1114">
                  <c:v>41352</c:v>
                </c:pt>
                <c:pt idx="1115">
                  <c:v>41353</c:v>
                </c:pt>
                <c:pt idx="1116">
                  <c:v>41354</c:v>
                </c:pt>
                <c:pt idx="1117">
                  <c:v>41355</c:v>
                </c:pt>
                <c:pt idx="1118">
                  <c:v>41358</c:v>
                </c:pt>
                <c:pt idx="1119">
                  <c:v>41359</c:v>
                </c:pt>
                <c:pt idx="1120">
                  <c:v>41360</c:v>
                </c:pt>
                <c:pt idx="1121">
                  <c:v>41361</c:v>
                </c:pt>
                <c:pt idx="1122">
                  <c:v>41366</c:v>
                </c:pt>
                <c:pt idx="1123">
                  <c:v>41367</c:v>
                </c:pt>
                <c:pt idx="1124">
                  <c:v>41368</c:v>
                </c:pt>
                <c:pt idx="1125">
                  <c:v>41369</c:v>
                </c:pt>
                <c:pt idx="1126">
                  <c:v>41372</c:v>
                </c:pt>
                <c:pt idx="1127">
                  <c:v>41373</c:v>
                </c:pt>
                <c:pt idx="1128">
                  <c:v>41374</c:v>
                </c:pt>
                <c:pt idx="1129">
                  <c:v>41375</c:v>
                </c:pt>
                <c:pt idx="1130">
                  <c:v>41376</c:v>
                </c:pt>
                <c:pt idx="1131">
                  <c:v>41379</c:v>
                </c:pt>
                <c:pt idx="1132">
                  <c:v>41380</c:v>
                </c:pt>
                <c:pt idx="1133">
                  <c:v>41381</c:v>
                </c:pt>
                <c:pt idx="1134">
                  <c:v>41382</c:v>
                </c:pt>
                <c:pt idx="1135">
                  <c:v>41383</c:v>
                </c:pt>
                <c:pt idx="1136">
                  <c:v>41386</c:v>
                </c:pt>
                <c:pt idx="1137">
                  <c:v>41387</c:v>
                </c:pt>
                <c:pt idx="1138">
                  <c:v>41388</c:v>
                </c:pt>
                <c:pt idx="1139">
                  <c:v>41389</c:v>
                </c:pt>
                <c:pt idx="1140">
                  <c:v>41390</c:v>
                </c:pt>
                <c:pt idx="1141">
                  <c:v>41393</c:v>
                </c:pt>
                <c:pt idx="1142">
                  <c:v>41394</c:v>
                </c:pt>
                <c:pt idx="1143">
                  <c:v>41395</c:v>
                </c:pt>
                <c:pt idx="1144">
                  <c:v>41396</c:v>
                </c:pt>
                <c:pt idx="1145">
                  <c:v>41397</c:v>
                </c:pt>
                <c:pt idx="1146">
                  <c:v>41400</c:v>
                </c:pt>
                <c:pt idx="1147">
                  <c:v>41401</c:v>
                </c:pt>
                <c:pt idx="1148">
                  <c:v>41402</c:v>
                </c:pt>
                <c:pt idx="1149">
                  <c:v>41403</c:v>
                </c:pt>
                <c:pt idx="1150">
                  <c:v>41404</c:v>
                </c:pt>
                <c:pt idx="1151">
                  <c:v>41407</c:v>
                </c:pt>
                <c:pt idx="1152">
                  <c:v>41408</c:v>
                </c:pt>
                <c:pt idx="1153">
                  <c:v>41409</c:v>
                </c:pt>
                <c:pt idx="1154">
                  <c:v>41410</c:v>
                </c:pt>
                <c:pt idx="1155">
                  <c:v>41411</c:v>
                </c:pt>
                <c:pt idx="1156">
                  <c:v>41414</c:v>
                </c:pt>
                <c:pt idx="1157">
                  <c:v>41415</c:v>
                </c:pt>
                <c:pt idx="1158">
                  <c:v>41416</c:v>
                </c:pt>
                <c:pt idx="1159">
                  <c:v>41417</c:v>
                </c:pt>
                <c:pt idx="1160">
                  <c:v>41418</c:v>
                </c:pt>
                <c:pt idx="1161">
                  <c:v>41421</c:v>
                </c:pt>
                <c:pt idx="1162">
                  <c:v>41422</c:v>
                </c:pt>
                <c:pt idx="1163">
                  <c:v>41423</c:v>
                </c:pt>
                <c:pt idx="1164">
                  <c:v>41424</c:v>
                </c:pt>
                <c:pt idx="1165">
                  <c:v>41425</c:v>
                </c:pt>
                <c:pt idx="1166">
                  <c:v>41428</c:v>
                </c:pt>
                <c:pt idx="1167">
                  <c:v>41429</c:v>
                </c:pt>
                <c:pt idx="1168">
                  <c:v>41430</c:v>
                </c:pt>
                <c:pt idx="1169">
                  <c:v>41431</c:v>
                </c:pt>
                <c:pt idx="1170">
                  <c:v>41432</c:v>
                </c:pt>
                <c:pt idx="1171">
                  <c:v>41435</c:v>
                </c:pt>
                <c:pt idx="1172">
                  <c:v>41436</c:v>
                </c:pt>
                <c:pt idx="1173">
                  <c:v>41437</c:v>
                </c:pt>
                <c:pt idx="1174">
                  <c:v>41438</c:v>
                </c:pt>
                <c:pt idx="1175">
                  <c:v>41439</c:v>
                </c:pt>
                <c:pt idx="1176">
                  <c:v>41442</c:v>
                </c:pt>
                <c:pt idx="1177">
                  <c:v>41443</c:v>
                </c:pt>
                <c:pt idx="1178">
                  <c:v>41444</c:v>
                </c:pt>
                <c:pt idx="1179">
                  <c:v>41445</c:v>
                </c:pt>
                <c:pt idx="1180">
                  <c:v>41446</c:v>
                </c:pt>
                <c:pt idx="1181">
                  <c:v>41449</c:v>
                </c:pt>
                <c:pt idx="1182">
                  <c:v>41450</c:v>
                </c:pt>
                <c:pt idx="1183">
                  <c:v>41451</c:v>
                </c:pt>
                <c:pt idx="1184">
                  <c:v>41452</c:v>
                </c:pt>
                <c:pt idx="1185">
                  <c:v>41453</c:v>
                </c:pt>
                <c:pt idx="1186">
                  <c:v>41456</c:v>
                </c:pt>
                <c:pt idx="1187">
                  <c:v>41457</c:v>
                </c:pt>
                <c:pt idx="1188">
                  <c:v>41458</c:v>
                </c:pt>
                <c:pt idx="1189">
                  <c:v>41459</c:v>
                </c:pt>
                <c:pt idx="1190">
                  <c:v>41460</c:v>
                </c:pt>
                <c:pt idx="1191">
                  <c:v>41463</c:v>
                </c:pt>
                <c:pt idx="1192">
                  <c:v>41464</c:v>
                </c:pt>
                <c:pt idx="1193">
                  <c:v>41465</c:v>
                </c:pt>
                <c:pt idx="1194">
                  <c:v>41466</c:v>
                </c:pt>
                <c:pt idx="1195">
                  <c:v>41467</c:v>
                </c:pt>
                <c:pt idx="1196">
                  <c:v>41470</c:v>
                </c:pt>
                <c:pt idx="1197">
                  <c:v>41471</c:v>
                </c:pt>
                <c:pt idx="1198">
                  <c:v>41472</c:v>
                </c:pt>
                <c:pt idx="1199">
                  <c:v>41473</c:v>
                </c:pt>
                <c:pt idx="1200">
                  <c:v>41474</c:v>
                </c:pt>
                <c:pt idx="1201">
                  <c:v>41477</c:v>
                </c:pt>
                <c:pt idx="1202">
                  <c:v>41478</c:v>
                </c:pt>
                <c:pt idx="1203">
                  <c:v>41479</c:v>
                </c:pt>
                <c:pt idx="1204">
                  <c:v>41480</c:v>
                </c:pt>
                <c:pt idx="1205">
                  <c:v>41481</c:v>
                </c:pt>
                <c:pt idx="1206">
                  <c:v>41484</c:v>
                </c:pt>
                <c:pt idx="1207">
                  <c:v>41485</c:v>
                </c:pt>
                <c:pt idx="1208">
                  <c:v>41486</c:v>
                </c:pt>
                <c:pt idx="1209">
                  <c:v>41487</c:v>
                </c:pt>
                <c:pt idx="1210">
                  <c:v>41488</c:v>
                </c:pt>
                <c:pt idx="1211">
                  <c:v>41491</c:v>
                </c:pt>
                <c:pt idx="1212">
                  <c:v>41492</c:v>
                </c:pt>
                <c:pt idx="1213">
                  <c:v>41493</c:v>
                </c:pt>
                <c:pt idx="1214">
                  <c:v>41494</c:v>
                </c:pt>
                <c:pt idx="1215">
                  <c:v>41495</c:v>
                </c:pt>
                <c:pt idx="1216">
                  <c:v>41498</c:v>
                </c:pt>
                <c:pt idx="1217">
                  <c:v>41499</c:v>
                </c:pt>
                <c:pt idx="1218">
                  <c:v>41500</c:v>
                </c:pt>
                <c:pt idx="1219">
                  <c:v>41501</c:v>
                </c:pt>
                <c:pt idx="1220">
                  <c:v>41502</c:v>
                </c:pt>
                <c:pt idx="1221">
                  <c:v>41505</c:v>
                </c:pt>
                <c:pt idx="1222">
                  <c:v>41506</c:v>
                </c:pt>
                <c:pt idx="1223">
                  <c:v>41507</c:v>
                </c:pt>
                <c:pt idx="1224">
                  <c:v>41508</c:v>
                </c:pt>
                <c:pt idx="1225">
                  <c:v>41509</c:v>
                </c:pt>
                <c:pt idx="1226">
                  <c:v>41512</c:v>
                </c:pt>
                <c:pt idx="1227">
                  <c:v>41513</c:v>
                </c:pt>
                <c:pt idx="1228">
                  <c:v>41514</c:v>
                </c:pt>
                <c:pt idx="1229">
                  <c:v>41515</c:v>
                </c:pt>
                <c:pt idx="1230">
                  <c:v>41516</c:v>
                </c:pt>
                <c:pt idx="1231">
                  <c:v>41519</c:v>
                </c:pt>
                <c:pt idx="1232">
                  <c:v>41520</c:v>
                </c:pt>
                <c:pt idx="1233">
                  <c:v>41521</c:v>
                </c:pt>
                <c:pt idx="1234">
                  <c:v>41522</c:v>
                </c:pt>
                <c:pt idx="1235">
                  <c:v>41523</c:v>
                </c:pt>
                <c:pt idx="1236">
                  <c:v>41526</c:v>
                </c:pt>
                <c:pt idx="1237">
                  <c:v>41527</c:v>
                </c:pt>
                <c:pt idx="1238">
                  <c:v>41528</c:v>
                </c:pt>
                <c:pt idx="1239">
                  <c:v>41529</c:v>
                </c:pt>
                <c:pt idx="1240">
                  <c:v>41530</c:v>
                </c:pt>
                <c:pt idx="1241">
                  <c:v>41533</c:v>
                </c:pt>
                <c:pt idx="1242">
                  <c:v>41534</c:v>
                </c:pt>
                <c:pt idx="1243">
                  <c:v>41535</c:v>
                </c:pt>
                <c:pt idx="1244">
                  <c:v>41536</c:v>
                </c:pt>
                <c:pt idx="1245">
                  <c:v>41537</c:v>
                </c:pt>
              </c:numCache>
            </c:numRef>
          </c:cat>
          <c:val>
            <c:numRef>
              <c:f>Sheet1!$D$2:$D$1247</c:f>
              <c:numCache>
                <c:formatCode>General</c:formatCode>
                <c:ptCount val="1246"/>
                <c:pt idx="0">
                  <c:v>100</c:v>
                </c:pt>
                <c:pt idx="1">
                  <c:v>97.228736710000007</c:v>
                </c:pt>
                <c:pt idx="2">
                  <c:v>96.056128830000006</c:v>
                </c:pt>
                <c:pt idx="3">
                  <c:v>93.136335209999999</c:v>
                </c:pt>
                <c:pt idx="4">
                  <c:v>94.195590989999999</c:v>
                </c:pt>
                <c:pt idx="5">
                  <c:v>92.600844280000004</c:v>
                </c:pt>
                <c:pt idx="6">
                  <c:v>94.67636023</c:v>
                </c:pt>
                <c:pt idx="7">
                  <c:v>96.814415260000004</c:v>
                </c:pt>
                <c:pt idx="8">
                  <c:v>97.541432150000006</c:v>
                </c:pt>
                <c:pt idx="9">
                  <c:v>98.385709820000002</c:v>
                </c:pt>
                <c:pt idx="10">
                  <c:v>95.469824889999998</c:v>
                </c:pt>
                <c:pt idx="11">
                  <c:v>93.409943709999993</c:v>
                </c:pt>
                <c:pt idx="12">
                  <c:v>93.953252030000002</c:v>
                </c:pt>
                <c:pt idx="13">
                  <c:v>94.4144778</c:v>
                </c:pt>
                <c:pt idx="14">
                  <c:v>94.574734210000003</c:v>
                </c:pt>
                <c:pt idx="15">
                  <c:v>95.551907439999994</c:v>
                </c:pt>
                <c:pt idx="16">
                  <c:v>100.2657911</c:v>
                </c:pt>
                <c:pt idx="17">
                  <c:v>103.5060976</c:v>
                </c:pt>
                <c:pt idx="18">
                  <c:v>104.24874920000001</c:v>
                </c:pt>
                <c:pt idx="19">
                  <c:v>101.7393684</c:v>
                </c:pt>
                <c:pt idx="20">
                  <c:v>104.54580989999999</c:v>
                </c:pt>
                <c:pt idx="21">
                  <c:v>105.2415572</c:v>
                </c:pt>
                <c:pt idx="22">
                  <c:v>106.6682301</c:v>
                </c:pt>
                <c:pt idx="23">
                  <c:v>109.724828</c:v>
                </c:pt>
                <c:pt idx="24">
                  <c:v>108.61475919999999</c:v>
                </c:pt>
                <c:pt idx="25">
                  <c:v>106.6838649</c:v>
                </c:pt>
                <c:pt idx="26">
                  <c:v>106.1210131</c:v>
                </c:pt>
                <c:pt idx="27">
                  <c:v>106.31644780000001</c:v>
                </c:pt>
                <c:pt idx="28">
                  <c:v>107.2193558</c:v>
                </c:pt>
                <c:pt idx="29">
                  <c:v>108.18089430000001</c:v>
                </c:pt>
                <c:pt idx="30">
                  <c:v>108.1457161</c:v>
                </c:pt>
                <c:pt idx="31">
                  <c:v>110.2016886</c:v>
                </c:pt>
                <c:pt idx="32">
                  <c:v>114.7084115</c:v>
                </c:pt>
                <c:pt idx="33">
                  <c:v>113.7116948</c:v>
                </c:pt>
                <c:pt idx="34">
                  <c:v>113.199656</c:v>
                </c:pt>
                <c:pt idx="35">
                  <c:v>110.2055972</c:v>
                </c:pt>
                <c:pt idx="36">
                  <c:v>109.9906191</c:v>
                </c:pt>
                <c:pt idx="37">
                  <c:v>108.2473421</c:v>
                </c:pt>
                <c:pt idx="38">
                  <c:v>106.441526</c:v>
                </c:pt>
                <c:pt idx="39">
                  <c:v>106.6760475</c:v>
                </c:pt>
                <c:pt idx="40">
                  <c:v>103.14649780000001</c:v>
                </c:pt>
                <c:pt idx="41">
                  <c:v>104.9992183</c:v>
                </c:pt>
                <c:pt idx="42">
                  <c:v>104.57317070000001</c:v>
                </c:pt>
                <c:pt idx="43">
                  <c:v>103.068324</c:v>
                </c:pt>
                <c:pt idx="44">
                  <c:v>101.81363349999999</c:v>
                </c:pt>
                <c:pt idx="45">
                  <c:v>102.8338024</c:v>
                </c:pt>
                <c:pt idx="46">
                  <c:v>100.8755472</c:v>
                </c:pt>
                <c:pt idx="47">
                  <c:v>101.1882427</c:v>
                </c:pt>
                <c:pt idx="48">
                  <c:v>101.87226389999999</c:v>
                </c:pt>
                <c:pt idx="49">
                  <c:v>104.3894622</c:v>
                </c:pt>
                <c:pt idx="50">
                  <c:v>103.818793</c:v>
                </c:pt>
                <c:pt idx="51">
                  <c:v>103.181676</c:v>
                </c:pt>
                <c:pt idx="52">
                  <c:v>101.0670732</c:v>
                </c:pt>
                <c:pt idx="53">
                  <c:v>101.0631645</c:v>
                </c:pt>
                <c:pt idx="54">
                  <c:v>101.2781426</c:v>
                </c:pt>
                <c:pt idx="55">
                  <c:v>101.6533771</c:v>
                </c:pt>
                <c:pt idx="56">
                  <c:v>103.6937148</c:v>
                </c:pt>
                <c:pt idx="57">
                  <c:v>103.0409631</c:v>
                </c:pt>
                <c:pt idx="58">
                  <c:v>103.3028455</c:v>
                </c:pt>
                <c:pt idx="59">
                  <c:v>103.0175109</c:v>
                </c:pt>
                <c:pt idx="60">
                  <c:v>101.8019074</c:v>
                </c:pt>
                <c:pt idx="61">
                  <c:v>103.69762350000001</c:v>
                </c:pt>
                <c:pt idx="62">
                  <c:v>102.59146339999999</c:v>
                </c:pt>
                <c:pt idx="63">
                  <c:v>99.933552219999996</c:v>
                </c:pt>
                <c:pt idx="64">
                  <c:v>100.0703565</c:v>
                </c:pt>
                <c:pt idx="65">
                  <c:v>99.699030640000004</c:v>
                </c:pt>
                <c:pt idx="66">
                  <c:v>97.572701690000002</c:v>
                </c:pt>
                <c:pt idx="67">
                  <c:v>99.233896189999996</c:v>
                </c:pt>
                <c:pt idx="68">
                  <c:v>98.561600999999996</c:v>
                </c:pt>
                <c:pt idx="69">
                  <c:v>98.643683550000006</c:v>
                </c:pt>
                <c:pt idx="70">
                  <c:v>98.182457790000001</c:v>
                </c:pt>
                <c:pt idx="71">
                  <c:v>96.497811130000002</c:v>
                </c:pt>
                <c:pt idx="72">
                  <c:v>93.042526580000001</c:v>
                </c:pt>
                <c:pt idx="73">
                  <c:v>93.042526580000001</c:v>
                </c:pt>
                <c:pt idx="74">
                  <c:v>93.804721700000002</c:v>
                </c:pt>
                <c:pt idx="75">
                  <c:v>93.261413379999993</c:v>
                </c:pt>
                <c:pt idx="76">
                  <c:v>92.761100690000006</c:v>
                </c:pt>
                <c:pt idx="77">
                  <c:v>90.892745469999994</c:v>
                </c:pt>
                <c:pt idx="78">
                  <c:v>92.280331459999999</c:v>
                </c:pt>
                <c:pt idx="79">
                  <c:v>92.655565980000006</c:v>
                </c:pt>
                <c:pt idx="80">
                  <c:v>92.147435900000005</c:v>
                </c:pt>
                <c:pt idx="81">
                  <c:v>94.496560349999996</c:v>
                </c:pt>
                <c:pt idx="82">
                  <c:v>95.094590370000006</c:v>
                </c:pt>
                <c:pt idx="83">
                  <c:v>94.164321450000003</c:v>
                </c:pt>
                <c:pt idx="84">
                  <c:v>95.215759849999998</c:v>
                </c:pt>
                <c:pt idx="85">
                  <c:v>96.622889310000005</c:v>
                </c:pt>
                <c:pt idx="86">
                  <c:v>97.865853659999999</c:v>
                </c:pt>
                <c:pt idx="87">
                  <c:v>101.5752033</c:v>
                </c:pt>
                <c:pt idx="88">
                  <c:v>103.33020639999999</c:v>
                </c:pt>
                <c:pt idx="89">
                  <c:v>102.5992808</c:v>
                </c:pt>
                <c:pt idx="90">
                  <c:v>105.0187617</c:v>
                </c:pt>
                <c:pt idx="91">
                  <c:v>105.3470919</c:v>
                </c:pt>
                <c:pt idx="92">
                  <c:v>101.0279862</c:v>
                </c:pt>
                <c:pt idx="93">
                  <c:v>102.0325203</c:v>
                </c:pt>
                <c:pt idx="94">
                  <c:v>102.89634150000001</c:v>
                </c:pt>
                <c:pt idx="95">
                  <c:v>108.0362727</c:v>
                </c:pt>
                <c:pt idx="96">
                  <c:v>108.91963730000001</c:v>
                </c:pt>
                <c:pt idx="97">
                  <c:v>111.1085053</c:v>
                </c:pt>
                <c:pt idx="98">
                  <c:v>108.5170419</c:v>
                </c:pt>
                <c:pt idx="99">
                  <c:v>106.7620388</c:v>
                </c:pt>
                <c:pt idx="100">
                  <c:v>108.6460288</c:v>
                </c:pt>
                <c:pt idx="101">
                  <c:v>114.34881179999999</c:v>
                </c:pt>
                <c:pt idx="102">
                  <c:v>114.7084115</c:v>
                </c:pt>
                <c:pt idx="103">
                  <c:v>115.4315197</c:v>
                </c:pt>
                <c:pt idx="104">
                  <c:v>115.92792369999999</c:v>
                </c:pt>
                <c:pt idx="105">
                  <c:v>115.6152283</c:v>
                </c:pt>
                <c:pt idx="106">
                  <c:v>114.5637899</c:v>
                </c:pt>
                <c:pt idx="107">
                  <c:v>113.5475297</c:v>
                </c:pt>
                <c:pt idx="108">
                  <c:v>114.6654159</c:v>
                </c:pt>
                <c:pt idx="109">
                  <c:v>116.3070669</c:v>
                </c:pt>
                <c:pt idx="110">
                  <c:v>114.3761726</c:v>
                </c:pt>
                <c:pt idx="111">
                  <c:v>113.238743</c:v>
                </c:pt>
                <c:pt idx="112">
                  <c:v>115.8810194</c:v>
                </c:pt>
                <c:pt idx="113">
                  <c:v>121.3688243</c:v>
                </c:pt>
                <c:pt idx="114">
                  <c:v>121.2398374</c:v>
                </c:pt>
                <c:pt idx="115">
                  <c:v>126.8683552</c:v>
                </c:pt>
                <c:pt idx="116">
                  <c:v>128.62335830000001</c:v>
                </c:pt>
                <c:pt idx="117">
                  <c:v>132.3327079</c:v>
                </c:pt>
                <c:pt idx="118">
                  <c:v>135.33849280000001</c:v>
                </c:pt>
                <c:pt idx="119">
                  <c:v>136.18667919999999</c:v>
                </c:pt>
                <c:pt idx="120">
                  <c:v>134.33005</c:v>
                </c:pt>
                <c:pt idx="121">
                  <c:v>135.4049406</c:v>
                </c:pt>
                <c:pt idx="122">
                  <c:v>135.38930579999999</c:v>
                </c:pt>
                <c:pt idx="123">
                  <c:v>131.0741088</c:v>
                </c:pt>
                <c:pt idx="124">
                  <c:v>131.95356469999999</c:v>
                </c:pt>
                <c:pt idx="125">
                  <c:v>133.34896810000001</c:v>
                </c:pt>
                <c:pt idx="126">
                  <c:v>138.57879919999999</c:v>
                </c:pt>
                <c:pt idx="127">
                  <c:v>139.59115069999999</c:v>
                </c:pt>
                <c:pt idx="128">
                  <c:v>137.38664790000001</c:v>
                </c:pt>
                <c:pt idx="129">
                  <c:v>139.63023759999999</c:v>
                </c:pt>
                <c:pt idx="130">
                  <c:v>139.98202000000001</c:v>
                </c:pt>
                <c:pt idx="131">
                  <c:v>137.7267042</c:v>
                </c:pt>
                <c:pt idx="132">
                  <c:v>140.99828020000001</c:v>
                </c:pt>
                <c:pt idx="133">
                  <c:v>140.54878049999999</c:v>
                </c:pt>
                <c:pt idx="134">
                  <c:v>142.32723580000001</c:v>
                </c:pt>
                <c:pt idx="135">
                  <c:v>147.18964980000001</c:v>
                </c:pt>
                <c:pt idx="136">
                  <c:v>147.04893680000001</c:v>
                </c:pt>
                <c:pt idx="137">
                  <c:v>147.74077550000001</c:v>
                </c:pt>
                <c:pt idx="138">
                  <c:v>148.1590056</c:v>
                </c:pt>
                <c:pt idx="139">
                  <c:v>150.34787370000001</c:v>
                </c:pt>
                <c:pt idx="140">
                  <c:v>146.83395870000001</c:v>
                </c:pt>
                <c:pt idx="141">
                  <c:v>147.79940590000001</c:v>
                </c:pt>
                <c:pt idx="142">
                  <c:v>151.3680425</c:v>
                </c:pt>
                <c:pt idx="143">
                  <c:v>150.87945590000001</c:v>
                </c:pt>
                <c:pt idx="144">
                  <c:v>150.55894309999999</c:v>
                </c:pt>
                <c:pt idx="145">
                  <c:v>147.91666670000001</c:v>
                </c:pt>
                <c:pt idx="146">
                  <c:v>145.21966850000001</c:v>
                </c:pt>
                <c:pt idx="147">
                  <c:v>143.75</c:v>
                </c:pt>
                <c:pt idx="148">
                  <c:v>140.79111940000001</c:v>
                </c:pt>
                <c:pt idx="149">
                  <c:v>142.89008759999999</c:v>
                </c:pt>
                <c:pt idx="150">
                  <c:v>141.5963102</c:v>
                </c:pt>
                <c:pt idx="151">
                  <c:v>139.2706379</c:v>
                </c:pt>
                <c:pt idx="152">
                  <c:v>142.92135709999999</c:v>
                </c:pt>
                <c:pt idx="153">
                  <c:v>145.03205130000001</c:v>
                </c:pt>
                <c:pt idx="154">
                  <c:v>145.9545028</c:v>
                </c:pt>
                <c:pt idx="155">
                  <c:v>145.9349593</c:v>
                </c:pt>
                <c:pt idx="156">
                  <c:v>146.3375547</c:v>
                </c:pt>
                <c:pt idx="157">
                  <c:v>147.47889309999999</c:v>
                </c:pt>
                <c:pt idx="158">
                  <c:v>146.72451530000001</c:v>
                </c:pt>
                <c:pt idx="159">
                  <c:v>145.93105069999999</c:v>
                </c:pt>
                <c:pt idx="160">
                  <c:v>143.9063477</c:v>
                </c:pt>
                <c:pt idx="161">
                  <c:v>144.85616010000001</c:v>
                </c:pt>
                <c:pt idx="162">
                  <c:v>143.88289560000001</c:v>
                </c:pt>
                <c:pt idx="163">
                  <c:v>145.6105378</c:v>
                </c:pt>
                <c:pt idx="164">
                  <c:v>144.35584739999999</c:v>
                </c:pt>
                <c:pt idx="165">
                  <c:v>141.94418390000001</c:v>
                </c:pt>
                <c:pt idx="166">
                  <c:v>145.29784240000001</c:v>
                </c:pt>
                <c:pt idx="167">
                  <c:v>150.19152600000001</c:v>
                </c:pt>
                <c:pt idx="168">
                  <c:v>150.8560038</c:v>
                </c:pt>
                <c:pt idx="169">
                  <c:v>152.59537209999999</c:v>
                </c:pt>
                <c:pt idx="170">
                  <c:v>155.80440899999999</c:v>
                </c:pt>
                <c:pt idx="171">
                  <c:v>156.02720450000001</c:v>
                </c:pt>
                <c:pt idx="172">
                  <c:v>155.30800500000001</c:v>
                </c:pt>
                <c:pt idx="173">
                  <c:v>158.0714509</c:v>
                </c:pt>
                <c:pt idx="174">
                  <c:v>160.0492495</c:v>
                </c:pt>
                <c:pt idx="175">
                  <c:v>162.0465916</c:v>
                </c:pt>
                <c:pt idx="176">
                  <c:v>164.99765479999999</c:v>
                </c:pt>
                <c:pt idx="177">
                  <c:v>163.11366480000001</c:v>
                </c:pt>
                <c:pt idx="178">
                  <c:v>164.8530331</c:v>
                </c:pt>
                <c:pt idx="179">
                  <c:v>167.3233271</c:v>
                </c:pt>
                <c:pt idx="180">
                  <c:v>169.03924330000001</c:v>
                </c:pt>
                <c:pt idx="181">
                  <c:v>169.2151345</c:v>
                </c:pt>
                <c:pt idx="182">
                  <c:v>167.4405879</c:v>
                </c:pt>
                <c:pt idx="183">
                  <c:v>168.67573479999999</c:v>
                </c:pt>
                <c:pt idx="184">
                  <c:v>166.60803630000001</c:v>
                </c:pt>
                <c:pt idx="185">
                  <c:v>167.09271419999999</c:v>
                </c:pt>
                <c:pt idx="186">
                  <c:v>168.13242650000001</c:v>
                </c:pt>
                <c:pt idx="187">
                  <c:v>165.57223260000001</c:v>
                </c:pt>
                <c:pt idx="188">
                  <c:v>168.63664790000001</c:v>
                </c:pt>
                <c:pt idx="189">
                  <c:v>168.77736089999999</c:v>
                </c:pt>
                <c:pt idx="190">
                  <c:v>163.91885550000001</c:v>
                </c:pt>
                <c:pt idx="191">
                  <c:v>163.887586</c:v>
                </c:pt>
                <c:pt idx="192">
                  <c:v>161.24530960000001</c:v>
                </c:pt>
                <c:pt idx="193">
                  <c:v>163.9462164</c:v>
                </c:pt>
                <c:pt idx="194">
                  <c:v>164.29018139999999</c:v>
                </c:pt>
                <c:pt idx="195">
                  <c:v>167.757192</c:v>
                </c:pt>
                <c:pt idx="196">
                  <c:v>167.57348339999999</c:v>
                </c:pt>
                <c:pt idx="197">
                  <c:v>167.64383989999999</c:v>
                </c:pt>
                <c:pt idx="198">
                  <c:v>167.58130080000001</c:v>
                </c:pt>
                <c:pt idx="199">
                  <c:v>168.30050030000001</c:v>
                </c:pt>
                <c:pt idx="200">
                  <c:v>165.90056290000001</c:v>
                </c:pt>
                <c:pt idx="201">
                  <c:v>165.9552846</c:v>
                </c:pt>
                <c:pt idx="202">
                  <c:v>164.1729206</c:v>
                </c:pt>
                <c:pt idx="203">
                  <c:v>166.0530019</c:v>
                </c:pt>
                <c:pt idx="204">
                  <c:v>167.25687930000001</c:v>
                </c:pt>
                <c:pt idx="205">
                  <c:v>169.71153849999999</c:v>
                </c:pt>
                <c:pt idx="206">
                  <c:v>172.2951845</c:v>
                </c:pt>
                <c:pt idx="207">
                  <c:v>172.05284549999999</c:v>
                </c:pt>
                <c:pt idx="208">
                  <c:v>173.51860540000001</c:v>
                </c:pt>
                <c:pt idx="209">
                  <c:v>174.6247655</c:v>
                </c:pt>
                <c:pt idx="210">
                  <c:v>171.37273300000001</c:v>
                </c:pt>
                <c:pt idx="211">
                  <c:v>173.0808318</c:v>
                </c:pt>
                <c:pt idx="212">
                  <c:v>176.03971229999999</c:v>
                </c:pt>
                <c:pt idx="213">
                  <c:v>177.11460289999999</c:v>
                </c:pt>
                <c:pt idx="214">
                  <c:v>176.5361163</c:v>
                </c:pt>
                <c:pt idx="215">
                  <c:v>176.16869919999999</c:v>
                </c:pt>
                <c:pt idx="216">
                  <c:v>177.8728893</c:v>
                </c:pt>
                <c:pt idx="217">
                  <c:v>178.13086300000001</c:v>
                </c:pt>
                <c:pt idx="218">
                  <c:v>178.0526892</c:v>
                </c:pt>
                <c:pt idx="219">
                  <c:v>176.79799869999999</c:v>
                </c:pt>
                <c:pt idx="220">
                  <c:v>173.75703559999999</c:v>
                </c:pt>
                <c:pt idx="221">
                  <c:v>175.51985619999999</c:v>
                </c:pt>
                <c:pt idx="222">
                  <c:v>177.3139462</c:v>
                </c:pt>
                <c:pt idx="223">
                  <c:v>177.23186369999999</c:v>
                </c:pt>
                <c:pt idx="224">
                  <c:v>174.87492180000001</c:v>
                </c:pt>
                <c:pt idx="225">
                  <c:v>175.46904319999999</c:v>
                </c:pt>
                <c:pt idx="226">
                  <c:v>178.57645400000001</c:v>
                </c:pt>
                <c:pt idx="227">
                  <c:v>180.13993120000001</c:v>
                </c:pt>
                <c:pt idx="228">
                  <c:v>181.35553469999999</c:v>
                </c:pt>
                <c:pt idx="229">
                  <c:v>181.41025640000001</c:v>
                </c:pt>
                <c:pt idx="230">
                  <c:v>181.7034084</c:v>
                </c:pt>
                <c:pt idx="231">
                  <c:v>182.03564729999999</c:v>
                </c:pt>
                <c:pt idx="232">
                  <c:v>184.54111940000001</c:v>
                </c:pt>
                <c:pt idx="233">
                  <c:v>184.16588490000001</c:v>
                </c:pt>
                <c:pt idx="234">
                  <c:v>184.35350220000001</c:v>
                </c:pt>
                <c:pt idx="235">
                  <c:v>185.22904940000001</c:v>
                </c:pt>
                <c:pt idx="236">
                  <c:v>185.373671</c:v>
                </c:pt>
                <c:pt idx="237">
                  <c:v>183.28252029999999</c:v>
                </c:pt>
                <c:pt idx="238">
                  <c:v>181.0428393</c:v>
                </c:pt>
                <c:pt idx="239">
                  <c:v>183.50922449999999</c:v>
                </c:pt>
                <c:pt idx="240">
                  <c:v>183.3567855</c:v>
                </c:pt>
                <c:pt idx="241">
                  <c:v>181.44934330000001</c:v>
                </c:pt>
                <c:pt idx="242">
                  <c:v>177.7556285</c:v>
                </c:pt>
                <c:pt idx="243">
                  <c:v>176.19215130000001</c:v>
                </c:pt>
                <c:pt idx="244">
                  <c:v>177.27095059999999</c:v>
                </c:pt>
                <c:pt idx="245">
                  <c:v>176.55175109999999</c:v>
                </c:pt>
                <c:pt idx="246">
                  <c:v>174.7029393</c:v>
                </c:pt>
                <c:pt idx="247">
                  <c:v>177.7165416</c:v>
                </c:pt>
                <c:pt idx="248">
                  <c:v>176.9582552</c:v>
                </c:pt>
                <c:pt idx="249">
                  <c:v>179.78814879999999</c:v>
                </c:pt>
                <c:pt idx="250">
                  <c:v>182.5594121</c:v>
                </c:pt>
                <c:pt idx="251">
                  <c:v>182.8330206</c:v>
                </c:pt>
                <c:pt idx="252">
                  <c:v>184.77564100000001</c:v>
                </c:pt>
                <c:pt idx="253">
                  <c:v>183.94308939999999</c:v>
                </c:pt>
                <c:pt idx="254">
                  <c:v>184.20106319999999</c:v>
                </c:pt>
                <c:pt idx="255">
                  <c:v>187.3319262</c:v>
                </c:pt>
                <c:pt idx="256">
                  <c:v>187.2146654</c:v>
                </c:pt>
                <c:pt idx="257">
                  <c:v>186.75734829999999</c:v>
                </c:pt>
                <c:pt idx="258">
                  <c:v>185.59646649999999</c:v>
                </c:pt>
                <c:pt idx="259">
                  <c:v>185.9247967</c:v>
                </c:pt>
                <c:pt idx="260">
                  <c:v>186.8394309</c:v>
                </c:pt>
                <c:pt idx="261">
                  <c:v>185.463571</c:v>
                </c:pt>
                <c:pt idx="262">
                  <c:v>187.3436523</c:v>
                </c:pt>
                <c:pt idx="263">
                  <c:v>184.69746720000001</c:v>
                </c:pt>
                <c:pt idx="264">
                  <c:v>183.89227639999999</c:v>
                </c:pt>
                <c:pt idx="265">
                  <c:v>183.2981551</c:v>
                </c:pt>
                <c:pt idx="266">
                  <c:v>186.49937460000001</c:v>
                </c:pt>
                <c:pt idx="267">
                  <c:v>187.69152600000001</c:v>
                </c:pt>
                <c:pt idx="268">
                  <c:v>189.3019074</c:v>
                </c:pt>
                <c:pt idx="269">
                  <c:v>188.43808630000001</c:v>
                </c:pt>
                <c:pt idx="270">
                  <c:v>187.2029393</c:v>
                </c:pt>
                <c:pt idx="271">
                  <c:v>187.1169481</c:v>
                </c:pt>
                <c:pt idx="272">
                  <c:v>186.2296748</c:v>
                </c:pt>
                <c:pt idx="273">
                  <c:v>186.23749219999999</c:v>
                </c:pt>
                <c:pt idx="274">
                  <c:v>187.7267042</c:v>
                </c:pt>
                <c:pt idx="275">
                  <c:v>187.5586304</c:v>
                </c:pt>
                <c:pt idx="276">
                  <c:v>187.4882739</c:v>
                </c:pt>
                <c:pt idx="277">
                  <c:v>188.02767349999999</c:v>
                </c:pt>
                <c:pt idx="278">
                  <c:v>187.06222639999999</c:v>
                </c:pt>
                <c:pt idx="279">
                  <c:v>187.0778612</c:v>
                </c:pt>
                <c:pt idx="280">
                  <c:v>184.55284549999999</c:v>
                </c:pt>
                <c:pt idx="281">
                  <c:v>186.74562230000001</c:v>
                </c:pt>
                <c:pt idx="282">
                  <c:v>186.800344</c:v>
                </c:pt>
                <c:pt idx="283">
                  <c:v>187.4022827</c:v>
                </c:pt>
                <c:pt idx="284">
                  <c:v>188.9774859</c:v>
                </c:pt>
                <c:pt idx="285">
                  <c:v>190.07191990000001</c:v>
                </c:pt>
                <c:pt idx="286">
                  <c:v>190.1188243</c:v>
                </c:pt>
                <c:pt idx="287">
                  <c:v>190.84974980000001</c:v>
                </c:pt>
                <c:pt idx="288">
                  <c:v>192.37414010000001</c:v>
                </c:pt>
                <c:pt idx="289">
                  <c:v>194.97342090000001</c:v>
                </c:pt>
                <c:pt idx="290">
                  <c:v>195.97795500000001</c:v>
                </c:pt>
                <c:pt idx="291">
                  <c:v>195.22357719999999</c:v>
                </c:pt>
                <c:pt idx="292">
                  <c:v>195.94668540000001</c:v>
                </c:pt>
                <c:pt idx="293">
                  <c:v>198.62023139999999</c:v>
                </c:pt>
                <c:pt idx="294">
                  <c:v>198.1199187</c:v>
                </c:pt>
                <c:pt idx="295">
                  <c:v>196.60725450000001</c:v>
                </c:pt>
                <c:pt idx="296">
                  <c:v>198.22545339999999</c:v>
                </c:pt>
                <c:pt idx="297">
                  <c:v>197.88930579999999</c:v>
                </c:pt>
                <c:pt idx="298">
                  <c:v>197.46716699999999</c:v>
                </c:pt>
                <c:pt idx="299">
                  <c:v>197.49452779999999</c:v>
                </c:pt>
                <c:pt idx="300">
                  <c:v>196.00140709999999</c:v>
                </c:pt>
                <c:pt idx="301">
                  <c:v>193.35131329999999</c:v>
                </c:pt>
                <c:pt idx="302">
                  <c:v>191.24452779999999</c:v>
                </c:pt>
                <c:pt idx="303">
                  <c:v>190.26344589999999</c:v>
                </c:pt>
                <c:pt idx="304">
                  <c:v>185.858349</c:v>
                </c:pt>
                <c:pt idx="305">
                  <c:v>183.48186369999999</c:v>
                </c:pt>
                <c:pt idx="306">
                  <c:v>186.52282679999999</c:v>
                </c:pt>
                <c:pt idx="307">
                  <c:v>185.858349</c:v>
                </c:pt>
                <c:pt idx="308">
                  <c:v>184.62320199999999</c:v>
                </c:pt>
                <c:pt idx="309">
                  <c:v>184.2206066</c:v>
                </c:pt>
                <c:pt idx="310">
                  <c:v>187.40619140000001</c:v>
                </c:pt>
                <c:pt idx="311">
                  <c:v>185.26031889999999</c:v>
                </c:pt>
                <c:pt idx="312">
                  <c:v>180.05784869999999</c:v>
                </c:pt>
                <c:pt idx="313">
                  <c:v>179.37773609999999</c:v>
                </c:pt>
                <c:pt idx="314">
                  <c:v>180.87085680000001</c:v>
                </c:pt>
                <c:pt idx="315">
                  <c:v>181.57833020000001</c:v>
                </c:pt>
                <c:pt idx="316">
                  <c:v>183.2395247</c:v>
                </c:pt>
                <c:pt idx="317">
                  <c:v>184.27923699999999</c:v>
                </c:pt>
                <c:pt idx="318">
                  <c:v>183.63821139999999</c:v>
                </c:pt>
                <c:pt idx="319">
                  <c:v>184.7326454</c:v>
                </c:pt>
                <c:pt idx="320">
                  <c:v>187.60553469999999</c:v>
                </c:pt>
                <c:pt idx="321">
                  <c:v>185.79971860000001</c:v>
                </c:pt>
                <c:pt idx="322">
                  <c:v>184.9398061</c:v>
                </c:pt>
                <c:pt idx="323">
                  <c:v>186.507192</c:v>
                </c:pt>
                <c:pt idx="324">
                  <c:v>188.35991240000001</c:v>
                </c:pt>
                <c:pt idx="325">
                  <c:v>187.6485303</c:v>
                </c:pt>
                <c:pt idx="326">
                  <c:v>186.95278300000001</c:v>
                </c:pt>
                <c:pt idx="327">
                  <c:v>187.5781739</c:v>
                </c:pt>
                <c:pt idx="328">
                  <c:v>189.5676986</c:v>
                </c:pt>
                <c:pt idx="329">
                  <c:v>190.38852410000001</c:v>
                </c:pt>
                <c:pt idx="330">
                  <c:v>191.00218889999999</c:v>
                </c:pt>
                <c:pt idx="331">
                  <c:v>190.4315197</c:v>
                </c:pt>
                <c:pt idx="332">
                  <c:v>192.06926200000001</c:v>
                </c:pt>
                <c:pt idx="333">
                  <c:v>195.68089430000001</c:v>
                </c:pt>
                <c:pt idx="334">
                  <c:v>195.71998120000001</c:v>
                </c:pt>
                <c:pt idx="335">
                  <c:v>197.3225453</c:v>
                </c:pt>
                <c:pt idx="336">
                  <c:v>197.619606</c:v>
                </c:pt>
                <c:pt idx="337">
                  <c:v>197.8658537</c:v>
                </c:pt>
                <c:pt idx="338">
                  <c:v>196.59943709999999</c:v>
                </c:pt>
                <c:pt idx="339">
                  <c:v>198.0495622</c:v>
                </c:pt>
                <c:pt idx="340">
                  <c:v>201.82535960000001</c:v>
                </c:pt>
                <c:pt idx="341">
                  <c:v>200.77392119999999</c:v>
                </c:pt>
                <c:pt idx="342">
                  <c:v>200.66447779999999</c:v>
                </c:pt>
                <c:pt idx="343">
                  <c:v>198.3348968</c:v>
                </c:pt>
                <c:pt idx="344">
                  <c:v>200.1485303</c:v>
                </c:pt>
                <c:pt idx="345">
                  <c:v>200.59802999999999</c:v>
                </c:pt>
                <c:pt idx="346">
                  <c:v>201.05534710000001</c:v>
                </c:pt>
                <c:pt idx="347">
                  <c:v>201.98561599999999</c:v>
                </c:pt>
                <c:pt idx="348">
                  <c:v>203.21294560000001</c:v>
                </c:pt>
                <c:pt idx="349">
                  <c:v>204.24874919999999</c:v>
                </c:pt>
                <c:pt idx="350">
                  <c:v>202.52110690000001</c:v>
                </c:pt>
                <c:pt idx="351">
                  <c:v>205.98811760000001</c:v>
                </c:pt>
                <c:pt idx="352">
                  <c:v>209.4590369</c:v>
                </c:pt>
                <c:pt idx="353">
                  <c:v>210.20950590000001</c:v>
                </c:pt>
                <c:pt idx="354">
                  <c:v>207.28971229999999</c:v>
                </c:pt>
                <c:pt idx="355">
                  <c:v>208.30988120000001</c:v>
                </c:pt>
                <c:pt idx="356">
                  <c:v>208.337242</c:v>
                </c:pt>
                <c:pt idx="357">
                  <c:v>207.18026889999999</c:v>
                </c:pt>
                <c:pt idx="358">
                  <c:v>210.6081926</c:v>
                </c:pt>
                <c:pt idx="359">
                  <c:v>211.01860540000001</c:v>
                </c:pt>
                <c:pt idx="360">
                  <c:v>209.84599750000001</c:v>
                </c:pt>
                <c:pt idx="361">
                  <c:v>206.18355220000001</c:v>
                </c:pt>
                <c:pt idx="362">
                  <c:v>209.92026269999999</c:v>
                </c:pt>
                <c:pt idx="363">
                  <c:v>210.2837711</c:v>
                </c:pt>
                <c:pt idx="364">
                  <c:v>210.95215759999999</c:v>
                </c:pt>
                <c:pt idx="365">
                  <c:v>211.05769230000001</c:v>
                </c:pt>
                <c:pt idx="366">
                  <c:v>213.00422140000001</c:v>
                </c:pt>
                <c:pt idx="367">
                  <c:v>212.00359599999999</c:v>
                </c:pt>
                <c:pt idx="368">
                  <c:v>207.5398687</c:v>
                </c:pt>
                <c:pt idx="369">
                  <c:v>210.02188870000001</c:v>
                </c:pt>
                <c:pt idx="370">
                  <c:v>212.105222</c:v>
                </c:pt>
                <c:pt idx="371">
                  <c:v>210.11569729999999</c:v>
                </c:pt>
                <c:pt idx="372">
                  <c:v>209.52157600000001</c:v>
                </c:pt>
                <c:pt idx="373">
                  <c:v>205.38227019999999</c:v>
                </c:pt>
                <c:pt idx="374">
                  <c:v>202.5171982</c:v>
                </c:pt>
                <c:pt idx="375">
                  <c:v>199.7146654</c:v>
                </c:pt>
                <c:pt idx="376">
                  <c:v>206.593965</c:v>
                </c:pt>
                <c:pt idx="377">
                  <c:v>204.7060663</c:v>
                </c:pt>
                <c:pt idx="378">
                  <c:v>206.593965</c:v>
                </c:pt>
                <c:pt idx="379">
                  <c:v>206.6135084</c:v>
                </c:pt>
                <c:pt idx="380">
                  <c:v>205.82004380000001</c:v>
                </c:pt>
                <c:pt idx="381">
                  <c:v>202.34130709999999</c:v>
                </c:pt>
                <c:pt idx="382">
                  <c:v>203.72889309999999</c:v>
                </c:pt>
                <c:pt idx="383">
                  <c:v>197.74859290000001</c:v>
                </c:pt>
                <c:pt idx="384">
                  <c:v>195.4151032</c:v>
                </c:pt>
                <c:pt idx="385">
                  <c:v>191.51031889999999</c:v>
                </c:pt>
                <c:pt idx="386">
                  <c:v>190.6582239</c:v>
                </c:pt>
                <c:pt idx="387">
                  <c:v>183.73592869999999</c:v>
                </c:pt>
                <c:pt idx="388">
                  <c:v>189.0556598</c:v>
                </c:pt>
                <c:pt idx="389">
                  <c:v>192.6751094</c:v>
                </c:pt>
                <c:pt idx="390">
                  <c:v>193.0894309</c:v>
                </c:pt>
                <c:pt idx="391">
                  <c:v>196.9394934</c:v>
                </c:pt>
                <c:pt idx="392">
                  <c:v>192.01063160000001</c:v>
                </c:pt>
                <c:pt idx="393">
                  <c:v>193.03861789999999</c:v>
                </c:pt>
                <c:pt idx="394">
                  <c:v>198.62804879999999</c:v>
                </c:pt>
                <c:pt idx="395">
                  <c:v>199.0658224</c:v>
                </c:pt>
                <c:pt idx="396">
                  <c:v>193.44903059999999</c:v>
                </c:pt>
                <c:pt idx="397">
                  <c:v>193.71873049999999</c:v>
                </c:pt>
                <c:pt idx="398">
                  <c:v>194.2424953</c:v>
                </c:pt>
                <c:pt idx="399">
                  <c:v>195.65353350000001</c:v>
                </c:pt>
                <c:pt idx="400">
                  <c:v>197.76031889999999</c:v>
                </c:pt>
                <c:pt idx="401">
                  <c:v>200.39868670000001</c:v>
                </c:pt>
                <c:pt idx="402">
                  <c:v>200.31660410000001</c:v>
                </c:pt>
                <c:pt idx="403">
                  <c:v>202.5875547</c:v>
                </c:pt>
                <c:pt idx="404">
                  <c:v>202.9041588</c:v>
                </c:pt>
                <c:pt idx="405">
                  <c:v>204.9405879</c:v>
                </c:pt>
                <c:pt idx="406">
                  <c:v>210.23295809999999</c:v>
                </c:pt>
                <c:pt idx="407">
                  <c:v>208.13789869999999</c:v>
                </c:pt>
                <c:pt idx="408">
                  <c:v>207.63367729999999</c:v>
                </c:pt>
                <c:pt idx="409">
                  <c:v>205.56207000000001</c:v>
                </c:pt>
                <c:pt idx="410">
                  <c:v>205.63633519999999</c:v>
                </c:pt>
                <c:pt idx="411">
                  <c:v>208.19652909999999</c:v>
                </c:pt>
                <c:pt idx="412">
                  <c:v>204.5966229</c:v>
                </c:pt>
                <c:pt idx="413">
                  <c:v>204.8350532</c:v>
                </c:pt>
                <c:pt idx="414">
                  <c:v>203.42792370000001</c:v>
                </c:pt>
                <c:pt idx="415">
                  <c:v>204.45200130000001</c:v>
                </c:pt>
                <c:pt idx="416">
                  <c:v>204.48327080000001</c:v>
                </c:pt>
                <c:pt idx="417">
                  <c:v>206.593965</c:v>
                </c:pt>
                <c:pt idx="418">
                  <c:v>205.56207000000001</c:v>
                </c:pt>
                <c:pt idx="419">
                  <c:v>208.1027205</c:v>
                </c:pt>
                <c:pt idx="420">
                  <c:v>210.0805191</c:v>
                </c:pt>
                <c:pt idx="421">
                  <c:v>210.21341459999999</c:v>
                </c:pt>
                <c:pt idx="422">
                  <c:v>210.78017510000001</c:v>
                </c:pt>
                <c:pt idx="423">
                  <c:v>212.92604750000001</c:v>
                </c:pt>
                <c:pt idx="424">
                  <c:v>212.6563477</c:v>
                </c:pt>
                <c:pt idx="425">
                  <c:v>213.14493429999999</c:v>
                </c:pt>
                <c:pt idx="426">
                  <c:v>211.6439962</c:v>
                </c:pt>
                <c:pt idx="427">
                  <c:v>212.83223889999999</c:v>
                </c:pt>
                <c:pt idx="428">
                  <c:v>212.56253910000001</c:v>
                </c:pt>
                <c:pt idx="429">
                  <c:v>213.1683865</c:v>
                </c:pt>
                <c:pt idx="430">
                  <c:v>215.185272</c:v>
                </c:pt>
                <c:pt idx="431">
                  <c:v>215.6582239</c:v>
                </c:pt>
                <c:pt idx="432">
                  <c:v>217.71028770000001</c:v>
                </c:pt>
                <c:pt idx="433">
                  <c:v>217.706379</c:v>
                </c:pt>
                <c:pt idx="434">
                  <c:v>219.23858659999999</c:v>
                </c:pt>
                <c:pt idx="435">
                  <c:v>218.91025640000001</c:v>
                </c:pt>
                <c:pt idx="436">
                  <c:v>221.0131332</c:v>
                </c:pt>
                <c:pt idx="437">
                  <c:v>219.94215130000001</c:v>
                </c:pt>
                <c:pt idx="438">
                  <c:v>219.39493429999999</c:v>
                </c:pt>
                <c:pt idx="439">
                  <c:v>220.927142</c:v>
                </c:pt>
                <c:pt idx="440">
                  <c:v>221.13430270000001</c:v>
                </c:pt>
                <c:pt idx="441">
                  <c:v>221.85741089999999</c:v>
                </c:pt>
                <c:pt idx="442">
                  <c:v>219.80925579999999</c:v>
                </c:pt>
                <c:pt idx="443">
                  <c:v>216.9402752</c:v>
                </c:pt>
                <c:pt idx="444">
                  <c:v>215.22435899999999</c:v>
                </c:pt>
                <c:pt idx="445">
                  <c:v>217.59693559999999</c:v>
                </c:pt>
                <c:pt idx="446">
                  <c:v>217.29987489999999</c:v>
                </c:pt>
                <c:pt idx="447">
                  <c:v>218.75781739999999</c:v>
                </c:pt>
                <c:pt idx="448">
                  <c:v>219.8717949</c:v>
                </c:pt>
                <c:pt idx="449">
                  <c:v>222.18964980000001</c:v>
                </c:pt>
                <c:pt idx="450">
                  <c:v>221.82614129999999</c:v>
                </c:pt>
                <c:pt idx="451">
                  <c:v>222.3538149</c:v>
                </c:pt>
                <c:pt idx="452">
                  <c:v>220.837242</c:v>
                </c:pt>
                <c:pt idx="453">
                  <c:v>221.4079112</c:v>
                </c:pt>
                <c:pt idx="454">
                  <c:v>222.17792370000001</c:v>
                </c:pt>
                <c:pt idx="455">
                  <c:v>221.9863977</c:v>
                </c:pt>
                <c:pt idx="456">
                  <c:v>224.01110069999999</c:v>
                </c:pt>
                <c:pt idx="457">
                  <c:v>223.3661664</c:v>
                </c:pt>
                <c:pt idx="458">
                  <c:v>227.18886800000001</c:v>
                </c:pt>
                <c:pt idx="459">
                  <c:v>228.0917761</c:v>
                </c:pt>
                <c:pt idx="460">
                  <c:v>229.2526579</c:v>
                </c:pt>
                <c:pt idx="461">
                  <c:v>231.48452159999999</c:v>
                </c:pt>
                <c:pt idx="462">
                  <c:v>231.1796435</c:v>
                </c:pt>
                <c:pt idx="463">
                  <c:v>231.39462159999999</c:v>
                </c:pt>
                <c:pt idx="464">
                  <c:v>232.5007817</c:v>
                </c:pt>
                <c:pt idx="465">
                  <c:v>232.84083799999999</c:v>
                </c:pt>
                <c:pt idx="466">
                  <c:v>235.56519700000001</c:v>
                </c:pt>
                <c:pt idx="467">
                  <c:v>235.06488429999999</c:v>
                </c:pt>
                <c:pt idx="468">
                  <c:v>237.58208260000001</c:v>
                </c:pt>
                <c:pt idx="469">
                  <c:v>237.40619140000001</c:v>
                </c:pt>
                <c:pt idx="470">
                  <c:v>238.00422140000001</c:v>
                </c:pt>
                <c:pt idx="471">
                  <c:v>237.9025954</c:v>
                </c:pt>
                <c:pt idx="472">
                  <c:v>239.3527205</c:v>
                </c:pt>
                <c:pt idx="473">
                  <c:v>240.1188243</c:v>
                </c:pt>
                <c:pt idx="474">
                  <c:v>238.82113820000001</c:v>
                </c:pt>
                <c:pt idx="475">
                  <c:v>240.25953720000001</c:v>
                </c:pt>
                <c:pt idx="476">
                  <c:v>243.3083177</c:v>
                </c:pt>
                <c:pt idx="477">
                  <c:v>242.31550970000001</c:v>
                </c:pt>
                <c:pt idx="478">
                  <c:v>244.05096940000001</c:v>
                </c:pt>
                <c:pt idx="479">
                  <c:v>244.43402130000001</c:v>
                </c:pt>
                <c:pt idx="480">
                  <c:v>246.68933709999999</c:v>
                </c:pt>
                <c:pt idx="481">
                  <c:v>247.0059412</c:v>
                </c:pt>
                <c:pt idx="482">
                  <c:v>247.78767980000001</c:v>
                </c:pt>
                <c:pt idx="483">
                  <c:v>250.05472169999999</c:v>
                </c:pt>
                <c:pt idx="484">
                  <c:v>249.31207000000001</c:v>
                </c:pt>
                <c:pt idx="485">
                  <c:v>246.91995</c:v>
                </c:pt>
                <c:pt idx="486">
                  <c:v>248.58896189999999</c:v>
                </c:pt>
                <c:pt idx="487">
                  <c:v>247.52579739999999</c:v>
                </c:pt>
                <c:pt idx="488">
                  <c:v>252.04033770000001</c:v>
                </c:pt>
                <c:pt idx="489">
                  <c:v>253.00578490000001</c:v>
                </c:pt>
                <c:pt idx="490">
                  <c:v>252.7165416</c:v>
                </c:pt>
                <c:pt idx="491">
                  <c:v>249.9218261</c:v>
                </c:pt>
                <c:pt idx="492">
                  <c:v>250.68402130000001</c:v>
                </c:pt>
                <c:pt idx="493">
                  <c:v>248.94465289999999</c:v>
                </c:pt>
                <c:pt idx="494">
                  <c:v>250.4025954</c:v>
                </c:pt>
                <c:pt idx="495">
                  <c:v>250.21106940000001</c:v>
                </c:pt>
                <c:pt idx="496">
                  <c:v>253.06441530000001</c:v>
                </c:pt>
                <c:pt idx="497">
                  <c:v>252.21232019999999</c:v>
                </c:pt>
                <c:pt idx="498">
                  <c:v>249.59349589999999</c:v>
                </c:pt>
                <c:pt idx="499">
                  <c:v>250.03126950000001</c:v>
                </c:pt>
                <c:pt idx="500">
                  <c:v>250.5393996</c:v>
                </c:pt>
                <c:pt idx="501">
                  <c:v>254.13930579999999</c:v>
                </c:pt>
                <c:pt idx="502">
                  <c:v>254.50672299999999</c:v>
                </c:pt>
                <c:pt idx="503">
                  <c:v>255.71450909999999</c:v>
                </c:pt>
                <c:pt idx="504">
                  <c:v>257.96591619999998</c:v>
                </c:pt>
                <c:pt idx="505">
                  <c:v>258.47013759999999</c:v>
                </c:pt>
                <c:pt idx="506">
                  <c:v>261.03814879999999</c:v>
                </c:pt>
                <c:pt idx="507">
                  <c:v>262.63680429999999</c:v>
                </c:pt>
                <c:pt idx="508">
                  <c:v>261.25703559999999</c:v>
                </c:pt>
                <c:pt idx="509">
                  <c:v>259.5958412</c:v>
                </c:pt>
                <c:pt idx="510">
                  <c:v>254.1549406</c:v>
                </c:pt>
                <c:pt idx="511">
                  <c:v>252.45856789999999</c:v>
                </c:pt>
                <c:pt idx="512">
                  <c:v>252.27876800000001</c:v>
                </c:pt>
                <c:pt idx="513">
                  <c:v>251.25469039999999</c:v>
                </c:pt>
                <c:pt idx="514">
                  <c:v>253.23248910000001</c:v>
                </c:pt>
                <c:pt idx="515">
                  <c:v>254.24484050000001</c:v>
                </c:pt>
                <c:pt idx="516">
                  <c:v>254.95622259999999</c:v>
                </c:pt>
                <c:pt idx="517">
                  <c:v>248.94856160000001</c:v>
                </c:pt>
                <c:pt idx="518">
                  <c:v>248.12382740000001</c:v>
                </c:pt>
                <c:pt idx="519">
                  <c:v>249.77720450000001</c:v>
                </c:pt>
                <c:pt idx="520">
                  <c:v>246.57989370000001</c:v>
                </c:pt>
                <c:pt idx="521">
                  <c:v>247.5961538</c:v>
                </c:pt>
                <c:pt idx="522">
                  <c:v>243.80472169999999</c:v>
                </c:pt>
                <c:pt idx="523">
                  <c:v>247.98702309999999</c:v>
                </c:pt>
                <c:pt idx="524">
                  <c:v>251.4579425</c:v>
                </c:pt>
                <c:pt idx="525">
                  <c:v>250.8364603</c:v>
                </c:pt>
                <c:pt idx="526">
                  <c:v>251.9895247</c:v>
                </c:pt>
                <c:pt idx="527">
                  <c:v>252.93933709999999</c:v>
                </c:pt>
                <c:pt idx="528">
                  <c:v>252.45465920000001</c:v>
                </c:pt>
                <c:pt idx="529">
                  <c:v>253.7797061</c:v>
                </c:pt>
                <c:pt idx="530">
                  <c:v>252.1536898</c:v>
                </c:pt>
                <c:pt idx="531">
                  <c:v>251.5048468</c:v>
                </c:pt>
                <c:pt idx="532">
                  <c:v>252.72435899999999</c:v>
                </c:pt>
                <c:pt idx="533">
                  <c:v>250.05472169999999</c:v>
                </c:pt>
                <c:pt idx="534">
                  <c:v>247.44762349999999</c:v>
                </c:pt>
                <c:pt idx="535">
                  <c:v>248.38961850000001</c:v>
                </c:pt>
                <c:pt idx="536">
                  <c:v>246.07567230000001</c:v>
                </c:pt>
                <c:pt idx="537">
                  <c:v>249.04237019999999</c:v>
                </c:pt>
                <c:pt idx="538">
                  <c:v>249.84756100000001</c:v>
                </c:pt>
                <c:pt idx="539">
                  <c:v>250.10553469999999</c:v>
                </c:pt>
                <c:pt idx="540">
                  <c:v>250.9849906</c:v>
                </c:pt>
                <c:pt idx="541">
                  <c:v>251.93089430000001</c:v>
                </c:pt>
                <c:pt idx="542">
                  <c:v>254.1158537</c:v>
                </c:pt>
                <c:pt idx="543">
                  <c:v>256.46106939999999</c:v>
                </c:pt>
                <c:pt idx="544">
                  <c:v>256.60178239999999</c:v>
                </c:pt>
                <c:pt idx="545">
                  <c:v>256.60959969999999</c:v>
                </c:pt>
                <c:pt idx="546">
                  <c:v>259.48248910000001</c:v>
                </c:pt>
                <c:pt idx="547">
                  <c:v>261.27657909999999</c:v>
                </c:pt>
                <c:pt idx="548">
                  <c:v>262.44918699999999</c:v>
                </c:pt>
                <c:pt idx="549">
                  <c:v>261.9293308</c:v>
                </c:pt>
                <c:pt idx="550">
                  <c:v>259.11116320000002</c:v>
                </c:pt>
                <c:pt idx="551">
                  <c:v>253.96341459999999</c:v>
                </c:pt>
                <c:pt idx="552">
                  <c:v>254.557536</c:v>
                </c:pt>
                <c:pt idx="553">
                  <c:v>257.72748589999998</c:v>
                </c:pt>
                <c:pt idx="554">
                  <c:v>259.38086299999998</c:v>
                </c:pt>
                <c:pt idx="555">
                  <c:v>258.17307690000001</c:v>
                </c:pt>
                <c:pt idx="556">
                  <c:v>257.19590369999997</c:v>
                </c:pt>
                <c:pt idx="557">
                  <c:v>258.20434649999999</c:v>
                </c:pt>
                <c:pt idx="558">
                  <c:v>258.83364599999999</c:v>
                </c:pt>
                <c:pt idx="559">
                  <c:v>255.3431832</c:v>
                </c:pt>
                <c:pt idx="560">
                  <c:v>251.87617259999999</c:v>
                </c:pt>
                <c:pt idx="561">
                  <c:v>250.0859912</c:v>
                </c:pt>
                <c:pt idx="562">
                  <c:v>250.6605691</c:v>
                </c:pt>
                <c:pt idx="563">
                  <c:v>253.60772360000001</c:v>
                </c:pt>
                <c:pt idx="564">
                  <c:v>254.14712320000001</c:v>
                </c:pt>
                <c:pt idx="565">
                  <c:v>253.00578490000001</c:v>
                </c:pt>
                <c:pt idx="566">
                  <c:v>249.0462789</c:v>
                </c:pt>
                <c:pt idx="567">
                  <c:v>250.0195435</c:v>
                </c:pt>
                <c:pt idx="568">
                  <c:v>253.6898061</c:v>
                </c:pt>
                <c:pt idx="569">
                  <c:v>253.83442779999999</c:v>
                </c:pt>
                <c:pt idx="570">
                  <c:v>254.2995622</c:v>
                </c:pt>
                <c:pt idx="571">
                  <c:v>254.52235769999999</c:v>
                </c:pt>
                <c:pt idx="572">
                  <c:v>254.28001879999999</c:v>
                </c:pt>
                <c:pt idx="573">
                  <c:v>251.35240780000001</c:v>
                </c:pt>
                <c:pt idx="574">
                  <c:v>246.53298939999999</c:v>
                </c:pt>
                <c:pt idx="575">
                  <c:v>244.97342090000001</c:v>
                </c:pt>
                <c:pt idx="576">
                  <c:v>247.8658537</c:v>
                </c:pt>
                <c:pt idx="577">
                  <c:v>247.29909319999999</c:v>
                </c:pt>
                <c:pt idx="578">
                  <c:v>248.9837398</c:v>
                </c:pt>
                <c:pt idx="579">
                  <c:v>249.56222639999999</c:v>
                </c:pt>
                <c:pt idx="580">
                  <c:v>251.68855529999999</c:v>
                </c:pt>
                <c:pt idx="581">
                  <c:v>251.37195120000001</c:v>
                </c:pt>
                <c:pt idx="582">
                  <c:v>247.08020640000001</c:v>
                </c:pt>
                <c:pt idx="583">
                  <c:v>247.42417140000001</c:v>
                </c:pt>
                <c:pt idx="584">
                  <c:v>243.7695435</c:v>
                </c:pt>
                <c:pt idx="585">
                  <c:v>246.83786739999999</c:v>
                </c:pt>
                <c:pt idx="586">
                  <c:v>247.02548469999999</c:v>
                </c:pt>
                <c:pt idx="587">
                  <c:v>251.133521</c:v>
                </c:pt>
                <c:pt idx="588">
                  <c:v>248.9094747</c:v>
                </c:pt>
                <c:pt idx="589">
                  <c:v>250.31660410000001</c:v>
                </c:pt>
                <c:pt idx="590">
                  <c:v>252.8650719</c:v>
                </c:pt>
                <c:pt idx="591">
                  <c:v>253.7210757</c:v>
                </c:pt>
                <c:pt idx="592">
                  <c:v>255.50343960000001</c:v>
                </c:pt>
                <c:pt idx="593">
                  <c:v>255.99984370000001</c:v>
                </c:pt>
                <c:pt idx="594">
                  <c:v>254.73733580000001</c:v>
                </c:pt>
                <c:pt idx="595">
                  <c:v>251.0905253</c:v>
                </c:pt>
                <c:pt idx="596">
                  <c:v>252.66572859999999</c:v>
                </c:pt>
                <c:pt idx="597">
                  <c:v>246.26328960000001</c:v>
                </c:pt>
                <c:pt idx="598">
                  <c:v>248.05347090000001</c:v>
                </c:pt>
                <c:pt idx="599">
                  <c:v>245.6418074</c:v>
                </c:pt>
                <c:pt idx="600">
                  <c:v>246.78314570000001</c:v>
                </c:pt>
                <c:pt idx="601">
                  <c:v>251.11006879999999</c:v>
                </c:pt>
                <c:pt idx="602">
                  <c:v>252.4429331</c:v>
                </c:pt>
                <c:pt idx="603">
                  <c:v>254.213571</c:v>
                </c:pt>
                <c:pt idx="604">
                  <c:v>256.26563479999999</c:v>
                </c:pt>
                <c:pt idx="605">
                  <c:v>257.76657290000003</c:v>
                </c:pt>
                <c:pt idx="606">
                  <c:v>256.84021259999997</c:v>
                </c:pt>
                <c:pt idx="607">
                  <c:v>256.9183865</c:v>
                </c:pt>
                <c:pt idx="608">
                  <c:v>260.06097560000001</c:v>
                </c:pt>
                <c:pt idx="609">
                  <c:v>262.02313950000001</c:v>
                </c:pt>
                <c:pt idx="610">
                  <c:v>264.3918074</c:v>
                </c:pt>
                <c:pt idx="611">
                  <c:v>265.85365849999999</c:v>
                </c:pt>
                <c:pt idx="612">
                  <c:v>265.05237649999998</c:v>
                </c:pt>
                <c:pt idx="613">
                  <c:v>266.77220139999997</c:v>
                </c:pt>
                <c:pt idx="614">
                  <c:v>267.74155719999999</c:v>
                </c:pt>
                <c:pt idx="615">
                  <c:v>268.62883049999999</c:v>
                </c:pt>
                <c:pt idx="616">
                  <c:v>266.80347089999998</c:v>
                </c:pt>
                <c:pt idx="617">
                  <c:v>264.75531580000001</c:v>
                </c:pt>
                <c:pt idx="618">
                  <c:v>266.85428389999998</c:v>
                </c:pt>
                <c:pt idx="619">
                  <c:v>265.96701059999998</c:v>
                </c:pt>
                <c:pt idx="620">
                  <c:v>266.34224519999998</c:v>
                </c:pt>
                <c:pt idx="621">
                  <c:v>266.26798000000002</c:v>
                </c:pt>
                <c:pt idx="622">
                  <c:v>265.74812379999997</c:v>
                </c:pt>
                <c:pt idx="623">
                  <c:v>270.137586</c:v>
                </c:pt>
                <c:pt idx="624">
                  <c:v>271.81832400000002</c:v>
                </c:pt>
                <c:pt idx="625">
                  <c:v>270.64571610000002</c:v>
                </c:pt>
                <c:pt idx="626">
                  <c:v>272.26391489999997</c:v>
                </c:pt>
                <c:pt idx="627">
                  <c:v>273.22154469999998</c:v>
                </c:pt>
                <c:pt idx="628">
                  <c:v>273.6827705</c:v>
                </c:pt>
                <c:pt idx="629">
                  <c:v>274.62476550000002</c:v>
                </c:pt>
                <c:pt idx="630">
                  <c:v>271.29455910000001</c:v>
                </c:pt>
                <c:pt idx="631">
                  <c:v>269.84052530000002</c:v>
                </c:pt>
                <c:pt idx="632">
                  <c:v>268.02689179999999</c:v>
                </c:pt>
                <c:pt idx="633">
                  <c:v>265.69731080000003</c:v>
                </c:pt>
                <c:pt idx="634">
                  <c:v>268.50375229999997</c:v>
                </c:pt>
                <c:pt idx="635">
                  <c:v>270.07895559999997</c:v>
                </c:pt>
                <c:pt idx="636">
                  <c:v>273.4247967</c:v>
                </c:pt>
                <c:pt idx="637">
                  <c:v>267.53830520000002</c:v>
                </c:pt>
                <c:pt idx="638">
                  <c:v>270.5206379</c:v>
                </c:pt>
                <c:pt idx="639">
                  <c:v>266.53377110000002</c:v>
                </c:pt>
                <c:pt idx="640">
                  <c:v>266.81910570000002</c:v>
                </c:pt>
                <c:pt idx="641">
                  <c:v>268.57020010000002</c:v>
                </c:pt>
                <c:pt idx="642">
                  <c:v>270.53236399999997</c:v>
                </c:pt>
                <c:pt idx="643">
                  <c:v>270.9740463</c:v>
                </c:pt>
                <c:pt idx="644">
                  <c:v>263.3560038</c:v>
                </c:pt>
                <c:pt idx="645">
                  <c:v>264.74358969999997</c:v>
                </c:pt>
                <c:pt idx="646">
                  <c:v>263.80159470000001</c:v>
                </c:pt>
                <c:pt idx="647">
                  <c:v>266.22107569999997</c:v>
                </c:pt>
                <c:pt idx="648">
                  <c:v>268.30831769999998</c:v>
                </c:pt>
                <c:pt idx="649">
                  <c:v>269.48092559999998</c:v>
                </c:pt>
                <c:pt idx="650">
                  <c:v>270.7395247</c:v>
                </c:pt>
                <c:pt idx="651">
                  <c:v>270.98577239999997</c:v>
                </c:pt>
                <c:pt idx="652">
                  <c:v>269.87961230000002</c:v>
                </c:pt>
                <c:pt idx="653">
                  <c:v>270.45809880000002</c:v>
                </c:pt>
                <c:pt idx="654">
                  <c:v>268.64837399999999</c:v>
                </c:pt>
                <c:pt idx="655">
                  <c:v>268.37085680000001</c:v>
                </c:pt>
                <c:pt idx="656">
                  <c:v>266.68621009999998</c:v>
                </c:pt>
                <c:pt idx="657">
                  <c:v>266.03345839999997</c:v>
                </c:pt>
                <c:pt idx="658">
                  <c:v>265.55659789999999</c:v>
                </c:pt>
                <c:pt idx="659">
                  <c:v>262.23811760000001</c:v>
                </c:pt>
                <c:pt idx="660">
                  <c:v>264.48170729999998</c:v>
                </c:pt>
                <c:pt idx="661">
                  <c:v>264.38789869999999</c:v>
                </c:pt>
                <c:pt idx="662">
                  <c:v>260.60428389999998</c:v>
                </c:pt>
                <c:pt idx="663">
                  <c:v>260.79580989999999</c:v>
                </c:pt>
                <c:pt idx="664">
                  <c:v>260.35021890000002</c:v>
                </c:pt>
                <c:pt idx="665">
                  <c:v>264.04784239999998</c:v>
                </c:pt>
                <c:pt idx="666">
                  <c:v>264.70841150000001</c:v>
                </c:pt>
                <c:pt idx="667">
                  <c:v>263.96185120000001</c:v>
                </c:pt>
                <c:pt idx="668">
                  <c:v>265.40025020000002</c:v>
                </c:pt>
                <c:pt idx="669">
                  <c:v>262.44918699999999</c:v>
                </c:pt>
                <c:pt idx="670">
                  <c:v>263.48889930000001</c:v>
                </c:pt>
                <c:pt idx="671">
                  <c:v>266.2093496</c:v>
                </c:pt>
                <c:pt idx="672">
                  <c:v>270.23921200000001</c:v>
                </c:pt>
                <c:pt idx="673">
                  <c:v>272.6078799</c:v>
                </c:pt>
                <c:pt idx="674">
                  <c:v>276.43449029999999</c:v>
                </c:pt>
                <c:pt idx="675">
                  <c:v>274.71857410000001</c:v>
                </c:pt>
                <c:pt idx="676">
                  <c:v>273.41307069999999</c:v>
                </c:pt>
                <c:pt idx="677">
                  <c:v>274.84365229999997</c:v>
                </c:pt>
                <c:pt idx="678">
                  <c:v>278.59990620000002</c:v>
                </c:pt>
                <c:pt idx="679">
                  <c:v>275.97326450000003</c:v>
                </c:pt>
                <c:pt idx="680">
                  <c:v>271.11866789999999</c:v>
                </c:pt>
                <c:pt idx="681">
                  <c:v>274.04237019999999</c:v>
                </c:pt>
                <c:pt idx="682">
                  <c:v>275.49640399999998</c:v>
                </c:pt>
                <c:pt idx="683">
                  <c:v>275.69183859999998</c:v>
                </c:pt>
                <c:pt idx="684">
                  <c:v>274.60131330000002</c:v>
                </c:pt>
                <c:pt idx="685">
                  <c:v>275.43777360000001</c:v>
                </c:pt>
                <c:pt idx="686">
                  <c:v>277.93542839999998</c:v>
                </c:pt>
                <c:pt idx="687">
                  <c:v>279.04940590000001</c:v>
                </c:pt>
                <c:pt idx="688">
                  <c:v>283.06754219999999</c:v>
                </c:pt>
                <c:pt idx="689">
                  <c:v>282.4695122</c:v>
                </c:pt>
                <c:pt idx="690">
                  <c:v>284.75218890000002</c:v>
                </c:pt>
                <c:pt idx="691">
                  <c:v>286.9762351</c:v>
                </c:pt>
                <c:pt idx="692">
                  <c:v>285.1078799</c:v>
                </c:pt>
                <c:pt idx="693">
                  <c:v>284.14634150000001</c:v>
                </c:pt>
                <c:pt idx="694">
                  <c:v>288.62961230000002</c:v>
                </c:pt>
                <c:pt idx="695">
                  <c:v>285.67073169999998</c:v>
                </c:pt>
                <c:pt idx="696">
                  <c:v>282.21544720000003</c:v>
                </c:pt>
                <c:pt idx="697">
                  <c:v>279.71779240000001</c:v>
                </c:pt>
                <c:pt idx="698">
                  <c:v>269.45356470000002</c:v>
                </c:pt>
                <c:pt idx="699">
                  <c:v>263.20356470000002</c:v>
                </c:pt>
                <c:pt idx="700">
                  <c:v>258.66166349999997</c:v>
                </c:pt>
                <c:pt idx="701">
                  <c:v>260.57692309999999</c:v>
                </c:pt>
                <c:pt idx="702">
                  <c:v>259.60365849999999</c:v>
                </c:pt>
                <c:pt idx="703">
                  <c:v>261.84724829999999</c:v>
                </c:pt>
                <c:pt idx="704">
                  <c:v>266.5650407</c:v>
                </c:pt>
                <c:pt idx="705">
                  <c:v>265.15400249999999</c:v>
                </c:pt>
                <c:pt idx="706">
                  <c:v>266.43214510000001</c:v>
                </c:pt>
                <c:pt idx="707">
                  <c:v>266.72138840000002</c:v>
                </c:pt>
                <c:pt idx="708">
                  <c:v>259.07207629999999</c:v>
                </c:pt>
                <c:pt idx="709">
                  <c:v>258.80237649999998</c:v>
                </c:pt>
                <c:pt idx="710">
                  <c:v>261.45637900000003</c:v>
                </c:pt>
                <c:pt idx="711">
                  <c:v>257.82129459999999</c:v>
                </c:pt>
                <c:pt idx="712">
                  <c:v>257.34052530000002</c:v>
                </c:pt>
                <c:pt idx="713">
                  <c:v>256.49233900000002</c:v>
                </c:pt>
                <c:pt idx="714">
                  <c:v>258.71247649999998</c:v>
                </c:pt>
                <c:pt idx="715">
                  <c:v>258.337242</c:v>
                </c:pt>
                <c:pt idx="716">
                  <c:v>262.6172608</c:v>
                </c:pt>
                <c:pt idx="717">
                  <c:v>261.71826140000002</c:v>
                </c:pt>
                <c:pt idx="718">
                  <c:v>263.07457790000001</c:v>
                </c:pt>
                <c:pt idx="719">
                  <c:v>259.84599750000001</c:v>
                </c:pt>
                <c:pt idx="720">
                  <c:v>260.02188869999998</c:v>
                </c:pt>
                <c:pt idx="721">
                  <c:v>264.55206379999998</c:v>
                </c:pt>
                <c:pt idx="722">
                  <c:v>265.02892430000003</c:v>
                </c:pt>
                <c:pt idx="723">
                  <c:v>261.85897440000002</c:v>
                </c:pt>
                <c:pt idx="724">
                  <c:v>254.19793619999999</c:v>
                </c:pt>
                <c:pt idx="725">
                  <c:v>251.75891179999999</c:v>
                </c:pt>
                <c:pt idx="726">
                  <c:v>248.81175730000001</c:v>
                </c:pt>
                <c:pt idx="727">
                  <c:v>249.36679169999999</c:v>
                </c:pt>
                <c:pt idx="728">
                  <c:v>250.81300809999999</c:v>
                </c:pt>
                <c:pt idx="729">
                  <c:v>244.33630389999999</c:v>
                </c:pt>
                <c:pt idx="730">
                  <c:v>245.44637270000001</c:v>
                </c:pt>
                <c:pt idx="731">
                  <c:v>244.17604750000001</c:v>
                </c:pt>
                <c:pt idx="732">
                  <c:v>231.70731710000001</c:v>
                </c:pt>
                <c:pt idx="733">
                  <c:v>229.85459660000001</c:v>
                </c:pt>
                <c:pt idx="734">
                  <c:v>221.21638519999999</c:v>
                </c:pt>
                <c:pt idx="735">
                  <c:v>231.6135084</c:v>
                </c:pt>
                <c:pt idx="736">
                  <c:v>231.6135084</c:v>
                </c:pt>
                <c:pt idx="737">
                  <c:v>231.79721699999999</c:v>
                </c:pt>
                <c:pt idx="738">
                  <c:v>230.84349589999999</c:v>
                </c:pt>
                <c:pt idx="739">
                  <c:v>221.5447154</c:v>
                </c:pt>
                <c:pt idx="740">
                  <c:v>217.06926200000001</c:v>
                </c:pt>
                <c:pt idx="741">
                  <c:v>218.7382739</c:v>
                </c:pt>
                <c:pt idx="742">
                  <c:v>226.58692930000001</c:v>
                </c:pt>
                <c:pt idx="743">
                  <c:v>228.6898061</c:v>
                </c:pt>
                <c:pt idx="744">
                  <c:v>232.20762980000001</c:v>
                </c:pt>
                <c:pt idx="745">
                  <c:v>235.6707317</c:v>
                </c:pt>
                <c:pt idx="746">
                  <c:v>240.58786739999999</c:v>
                </c:pt>
                <c:pt idx="747">
                  <c:v>240.7872108</c:v>
                </c:pt>
                <c:pt idx="748">
                  <c:v>242.706379</c:v>
                </c:pt>
                <c:pt idx="749">
                  <c:v>247.88539710000001</c:v>
                </c:pt>
                <c:pt idx="750">
                  <c:v>240.86929330000001</c:v>
                </c:pt>
                <c:pt idx="751">
                  <c:v>244.03924330000001</c:v>
                </c:pt>
                <c:pt idx="752">
                  <c:v>239.18855529999999</c:v>
                </c:pt>
                <c:pt idx="753">
                  <c:v>238.31300809999999</c:v>
                </c:pt>
                <c:pt idx="754">
                  <c:v>242.91744840000001</c:v>
                </c:pt>
                <c:pt idx="755">
                  <c:v>245.78252029999999</c:v>
                </c:pt>
                <c:pt idx="756">
                  <c:v>245.60662909999999</c:v>
                </c:pt>
                <c:pt idx="757">
                  <c:v>252.39993749999999</c:v>
                </c:pt>
                <c:pt idx="758">
                  <c:v>258.11444649999999</c:v>
                </c:pt>
                <c:pt idx="759">
                  <c:v>254.91713569999999</c:v>
                </c:pt>
                <c:pt idx="760">
                  <c:v>246.3101939</c:v>
                </c:pt>
                <c:pt idx="761">
                  <c:v>248.60850529999999</c:v>
                </c:pt>
                <c:pt idx="762">
                  <c:v>245.45419010000001</c:v>
                </c:pt>
                <c:pt idx="763">
                  <c:v>249.9882739</c:v>
                </c:pt>
                <c:pt idx="764">
                  <c:v>249.14008759999999</c:v>
                </c:pt>
                <c:pt idx="765">
                  <c:v>250.99671670000001</c:v>
                </c:pt>
                <c:pt idx="766">
                  <c:v>251.6729206</c:v>
                </c:pt>
                <c:pt idx="767">
                  <c:v>245.1180425</c:v>
                </c:pt>
                <c:pt idx="768">
                  <c:v>245.29002500000001</c:v>
                </c:pt>
                <c:pt idx="769">
                  <c:v>249.53095680000001</c:v>
                </c:pt>
                <c:pt idx="770">
                  <c:v>247.15838020000001</c:v>
                </c:pt>
                <c:pt idx="771">
                  <c:v>247.70168860000001</c:v>
                </c:pt>
                <c:pt idx="772">
                  <c:v>244.8522514</c:v>
                </c:pt>
                <c:pt idx="773">
                  <c:v>241.45950590000001</c:v>
                </c:pt>
                <c:pt idx="774">
                  <c:v>236.5853659</c:v>
                </c:pt>
                <c:pt idx="775">
                  <c:v>238.46153849999999</c:v>
                </c:pt>
                <c:pt idx="776">
                  <c:v>235.90916200000001</c:v>
                </c:pt>
                <c:pt idx="777">
                  <c:v>236.9488743</c:v>
                </c:pt>
                <c:pt idx="778">
                  <c:v>232.4695122</c:v>
                </c:pt>
                <c:pt idx="779">
                  <c:v>235.6199187</c:v>
                </c:pt>
                <c:pt idx="780">
                  <c:v>237.1169481</c:v>
                </c:pt>
                <c:pt idx="781">
                  <c:v>239.9038462</c:v>
                </c:pt>
                <c:pt idx="782">
                  <c:v>247.08020640000001</c:v>
                </c:pt>
                <c:pt idx="783">
                  <c:v>248.78439650000001</c:v>
                </c:pt>
                <c:pt idx="784">
                  <c:v>248.53814879999999</c:v>
                </c:pt>
                <c:pt idx="785">
                  <c:v>246.6737023</c:v>
                </c:pt>
                <c:pt idx="786">
                  <c:v>249.54268289999999</c:v>
                </c:pt>
                <c:pt idx="787">
                  <c:v>246.5173546</c:v>
                </c:pt>
                <c:pt idx="788">
                  <c:v>242.1552533</c:v>
                </c:pt>
                <c:pt idx="789">
                  <c:v>243.14806129999999</c:v>
                </c:pt>
                <c:pt idx="790">
                  <c:v>241.1116323</c:v>
                </c:pt>
                <c:pt idx="791">
                  <c:v>239.86475920000001</c:v>
                </c:pt>
                <c:pt idx="792">
                  <c:v>237.4804565</c:v>
                </c:pt>
                <c:pt idx="793">
                  <c:v>241.06863659999999</c:v>
                </c:pt>
                <c:pt idx="794">
                  <c:v>239.9116635</c:v>
                </c:pt>
                <c:pt idx="795">
                  <c:v>239.57160730000001</c:v>
                </c:pt>
                <c:pt idx="796">
                  <c:v>244.46529079999999</c:v>
                </c:pt>
                <c:pt idx="797">
                  <c:v>244.2229518</c:v>
                </c:pt>
                <c:pt idx="798">
                  <c:v>244.9499687</c:v>
                </c:pt>
                <c:pt idx="799">
                  <c:v>243.81253910000001</c:v>
                </c:pt>
                <c:pt idx="800">
                  <c:v>243.08552220000001</c:v>
                </c:pt>
                <c:pt idx="801">
                  <c:v>243.3161351</c:v>
                </c:pt>
                <c:pt idx="802">
                  <c:v>244.50046900000001</c:v>
                </c:pt>
                <c:pt idx="803">
                  <c:v>244.4105691</c:v>
                </c:pt>
                <c:pt idx="804">
                  <c:v>247.0567542</c:v>
                </c:pt>
                <c:pt idx="805">
                  <c:v>249.07754850000001</c:v>
                </c:pt>
                <c:pt idx="806">
                  <c:v>248.268449</c:v>
                </c:pt>
                <c:pt idx="807">
                  <c:v>247.76813630000001</c:v>
                </c:pt>
                <c:pt idx="808">
                  <c:v>247.15838020000001</c:v>
                </c:pt>
                <c:pt idx="809">
                  <c:v>250.3752345</c:v>
                </c:pt>
                <c:pt idx="810">
                  <c:v>250.52767349999999</c:v>
                </c:pt>
                <c:pt idx="811">
                  <c:v>250.2853346</c:v>
                </c:pt>
                <c:pt idx="812">
                  <c:v>252.7868981</c:v>
                </c:pt>
                <c:pt idx="813">
                  <c:v>249.34333960000001</c:v>
                </c:pt>
                <c:pt idx="814">
                  <c:v>254.54580989999999</c:v>
                </c:pt>
                <c:pt idx="815">
                  <c:v>255.01094430000001</c:v>
                </c:pt>
                <c:pt idx="816">
                  <c:v>257.00046900000001</c:v>
                </c:pt>
                <c:pt idx="817">
                  <c:v>258.6225766</c:v>
                </c:pt>
                <c:pt idx="818">
                  <c:v>259.38477169999999</c:v>
                </c:pt>
                <c:pt idx="819">
                  <c:v>259.00953720000001</c:v>
                </c:pt>
                <c:pt idx="820">
                  <c:v>260.85444030000002</c:v>
                </c:pt>
                <c:pt idx="821">
                  <c:v>263.52407749999998</c:v>
                </c:pt>
                <c:pt idx="822">
                  <c:v>265.07973729999998</c:v>
                </c:pt>
                <c:pt idx="823">
                  <c:v>261.9684178</c:v>
                </c:pt>
                <c:pt idx="824">
                  <c:v>265.52923700000002</c:v>
                </c:pt>
                <c:pt idx="825">
                  <c:v>265.31035020000002</c:v>
                </c:pt>
                <c:pt idx="826">
                  <c:v>269.02360850000002</c:v>
                </c:pt>
                <c:pt idx="827">
                  <c:v>269.99296440000001</c:v>
                </c:pt>
                <c:pt idx="828">
                  <c:v>269.36366479999998</c:v>
                </c:pt>
                <c:pt idx="829">
                  <c:v>270.03595999999999</c:v>
                </c:pt>
                <c:pt idx="830">
                  <c:v>273.79221389999998</c:v>
                </c:pt>
                <c:pt idx="831">
                  <c:v>273.20981860000001</c:v>
                </c:pt>
                <c:pt idx="832">
                  <c:v>269.35193870000001</c:v>
                </c:pt>
                <c:pt idx="833">
                  <c:v>271.575985</c:v>
                </c:pt>
                <c:pt idx="834">
                  <c:v>269.75844280000001</c:v>
                </c:pt>
                <c:pt idx="835">
                  <c:v>272.11147590000002</c:v>
                </c:pt>
                <c:pt idx="836">
                  <c:v>267.98780490000001</c:v>
                </c:pt>
                <c:pt idx="837">
                  <c:v>271.97467169999999</c:v>
                </c:pt>
                <c:pt idx="838">
                  <c:v>274.42542209999999</c:v>
                </c:pt>
                <c:pt idx="839">
                  <c:v>274.7342089</c:v>
                </c:pt>
                <c:pt idx="840">
                  <c:v>273.23327080000001</c:v>
                </c:pt>
                <c:pt idx="841">
                  <c:v>272.54534080000002</c:v>
                </c:pt>
                <c:pt idx="842">
                  <c:v>271.83395869999998</c:v>
                </c:pt>
                <c:pt idx="843">
                  <c:v>268.54674799999998</c:v>
                </c:pt>
                <c:pt idx="844">
                  <c:v>271.95121949999998</c:v>
                </c:pt>
                <c:pt idx="845">
                  <c:v>276.20778610000002</c:v>
                </c:pt>
                <c:pt idx="846">
                  <c:v>274.57004380000001</c:v>
                </c:pt>
                <c:pt idx="847">
                  <c:v>276.20387740000001</c:v>
                </c:pt>
                <c:pt idx="848">
                  <c:v>273.93292680000002</c:v>
                </c:pt>
                <c:pt idx="849">
                  <c:v>270.86069420000001</c:v>
                </c:pt>
                <c:pt idx="850">
                  <c:v>268.98061289999998</c:v>
                </c:pt>
                <c:pt idx="851">
                  <c:v>273.06519700000001</c:v>
                </c:pt>
                <c:pt idx="852">
                  <c:v>272.69387119999999</c:v>
                </c:pt>
                <c:pt idx="853">
                  <c:v>270.40728580000001</c:v>
                </c:pt>
                <c:pt idx="854">
                  <c:v>271.80659789999999</c:v>
                </c:pt>
                <c:pt idx="855">
                  <c:v>273.68667920000001</c:v>
                </c:pt>
                <c:pt idx="856">
                  <c:v>273.32317069999999</c:v>
                </c:pt>
                <c:pt idx="857">
                  <c:v>274.03064419999998</c:v>
                </c:pt>
                <c:pt idx="858">
                  <c:v>273.80394000000001</c:v>
                </c:pt>
                <c:pt idx="859">
                  <c:v>272.88539709999998</c:v>
                </c:pt>
                <c:pt idx="860">
                  <c:v>274.30816140000002</c:v>
                </c:pt>
                <c:pt idx="861">
                  <c:v>272.49452780000001</c:v>
                </c:pt>
                <c:pt idx="862">
                  <c:v>273.6827705</c:v>
                </c:pt>
                <c:pt idx="863">
                  <c:v>272.28736709999998</c:v>
                </c:pt>
                <c:pt idx="864">
                  <c:v>277.16932459999998</c:v>
                </c:pt>
                <c:pt idx="865">
                  <c:v>276.16088180000003</c:v>
                </c:pt>
                <c:pt idx="866">
                  <c:v>275.24233900000002</c:v>
                </c:pt>
                <c:pt idx="867">
                  <c:v>276.67682930000001</c:v>
                </c:pt>
                <c:pt idx="868">
                  <c:v>278.1894934</c:v>
                </c:pt>
                <c:pt idx="869">
                  <c:v>279.7451532</c:v>
                </c:pt>
                <c:pt idx="870">
                  <c:v>275.05472170000002</c:v>
                </c:pt>
                <c:pt idx="871">
                  <c:v>274.42542209999999</c:v>
                </c:pt>
                <c:pt idx="872">
                  <c:v>272.7251407</c:v>
                </c:pt>
                <c:pt idx="873">
                  <c:v>271.53298940000002</c:v>
                </c:pt>
                <c:pt idx="874">
                  <c:v>273.62023140000002</c:v>
                </c:pt>
                <c:pt idx="875">
                  <c:v>275.32442150000003</c:v>
                </c:pt>
                <c:pt idx="876">
                  <c:v>273.70622259999999</c:v>
                </c:pt>
                <c:pt idx="877">
                  <c:v>273.4247967</c:v>
                </c:pt>
                <c:pt idx="878">
                  <c:v>274.5661351</c:v>
                </c:pt>
                <c:pt idx="879">
                  <c:v>275.29315200000002</c:v>
                </c:pt>
                <c:pt idx="880">
                  <c:v>275.32442150000003</c:v>
                </c:pt>
                <c:pt idx="881">
                  <c:v>273.35444030000002</c:v>
                </c:pt>
                <c:pt idx="882">
                  <c:v>274.39806129999999</c:v>
                </c:pt>
                <c:pt idx="883">
                  <c:v>274.78111319999999</c:v>
                </c:pt>
                <c:pt idx="884">
                  <c:v>276.14524699999998</c:v>
                </c:pt>
                <c:pt idx="885">
                  <c:v>276.48921200000001</c:v>
                </c:pt>
                <c:pt idx="886">
                  <c:v>278.50609759999998</c:v>
                </c:pt>
                <c:pt idx="887">
                  <c:v>278.43574109999997</c:v>
                </c:pt>
                <c:pt idx="888">
                  <c:v>280.24937460000001</c:v>
                </c:pt>
                <c:pt idx="889">
                  <c:v>280.23764849999998</c:v>
                </c:pt>
                <c:pt idx="890">
                  <c:v>279.10803629999998</c:v>
                </c:pt>
                <c:pt idx="891">
                  <c:v>275.32833019999998</c:v>
                </c:pt>
                <c:pt idx="892">
                  <c:v>275.9068168</c:v>
                </c:pt>
                <c:pt idx="893">
                  <c:v>272.1544715</c:v>
                </c:pt>
                <c:pt idx="894">
                  <c:v>272.25609759999998</c:v>
                </c:pt>
                <c:pt idx="895">
                  <c:v>271.09521580000001</c:v>
                </c:pt>
                <c:pt idx="896">
                  <c:v>266.89727950000002</c:v>
                </c:pt>
                <c:pt idx="897">
                  <c:v>267.08489680000002</c:v>
                </c:pt>
                <c:pt idx="898">
                  <c:v>260.58864920000002</c:v>
                </c:pt>
                <c:pt idx="899">
                  <c:v>261.75734829999999</c:v>
                </c:pt>
                <c:pt idx="900">
                  <c:v>257.81738589999998</c:v>
                </c:pt>
                <c:pt idx="901">
                  <c:v>257.0161038</c:v>
                </c:pt>
                <c:pt idx="902">
                  <c:v>260.00625389999999</c:v>
                </c:pt>
                <c:pt idx="903">
                  <c:v>255.25328329999999</c:v>
                </c:pt>
                <c:pt idx="904">
                  <c:v>256.12101310000003</c:v>
                </c:pt>
                <c:pt idx="905">
                  <c:v>254.6747967</c:v>
                </c:pt>
                <c:pt idx="906">
                  <c:v>256.27345220000001</c:v>
                </c:pt>
                <c:pt idx="907">
                  <c:v>257.12163850000002</c:v>
                </c:pt>
                <c:pt idx="908">
                  <c:v>255.92166979999999</c:v>
                </c:pt>
                <c:pt idx="909">
                  <c:v>254.65916200000001</c:v>
                </c:pt>
                <c:pt idx="910">
                  <c:v>250.59802999999999</c:v>
                </c:pt>
                <c:pt idx="911">
                  <c:v>246.7636023</c:v>
                </c:pt>
                <c:pt idx="912">
                  <c:v>247.99484050000001</c:v>
                </c:pt>
                <c:pt idx="913">
                  <c:v>254.5848968</c:v>
                </c:pt>
                <c:pt idx="914">
                  <c:v>255.56207000000001</c:v>
                </c:pt>
                <c:pt idx="915">
                  <c:v>252.9237023</c:v>
                </c:pt>
                <c:pt idx="916">
                  <c:v>257.29752969999998</c:v>
                </c:pt>
                <c:pt idx="917">
                  <c:v>256.949656</c:v>
                </c:pt>
                <c:pt idx="918">
                  <c:v>257.77829889999998</c:v>
                </c:pt>
                <c:pt idx="919">
                  <c:v>255.02657909999999</c:v>
                </c:pt>
                <c:pt idx="920">
                  <c:v>259.10725450000001</c:v>
                </c:pt>
                <c:pt idx="921">
                  <c:v>260.6980926</c:v>
                </c:pt>
                <c:pt idx="922">
                  <c:v>262.8556911</c:v>
                </c:pt>
                <c:pt idx="923">
                  <c:v>264.94684180000002</c:v>
                </c:pt>
                <c:pt idx="924">
                  <c:v>261.50719199999997</c:v>
                </c:pt>
                <c:pt idx="925">
                  <c:v>260.10397119999999</c:v>
                </c:pt>
                <c:pt idx="926">
                  <c:v>258.29815509999997</c:v>
                </c:pt>
                <c:pt idx="927">
                  <c:v>258.50922450000002</c:v>
                </c:pt>
                <c:pt idx="928">
                  <c:v>261.37038769999998</c:v>
                </c:pt>
                <c:pt idx="929">
                  <c:v>260.76844899999998</c:v>
                </c:pt>
                <c:pt idx="930">
                  <c:v>264.76704189999998</c:v>
                </c:pt>
                <c:pt idx="931">
                  <c:v>267.96435270000001</c:v>
                </c:pt>
                <c:pt idx="932">
                  <c:v>271.59161979999999</c:v>
                </c:pt>
                <c:pt idx="933">
                  <c:v>271.88477169999999</c:v>
                </c:pt>
                <c:pt idx="934">
                  <c:v>272.3225453</c:v>
                </c:pt>
                <c:pt idx="935">
                  <c:v>271.60725450000001</c:v>
                </c:pt>
                <c:pt idx="936">
                  <c:v>267.37804879999999</c:v>
                </c:pt>
                <c:pt idx="937">
                  <c:v>270.67307690000001</c:v>
                </c:pt>
                <c:pt idx="938">
                  <c:v>271.88477169999999</c:v>
                </c:pt>
                <c:pt idx="939">
                  <c:v>268.50375229999997</c:v>
                </c:pt>
                <c:pt idx="940">
                  <c:v>270.93886800000001</c:v>
                </c:pt>
                <c:pt idx="941">
                  <c:v>272.63133210000001</c:v>
                </c:pt>
                <c:pt idx="942">
                  <c:v>274.77720449999998</c:v>
                </c:pt>
                <c:pt idx="943">
                  <c:v>274.74984369999999</c:v>
                </c:pt>
                <c:pt idx="944">
                  <c:v>275.69183859999998</c:v>
                </c:pt>
                <c:pt idx="945">
                  <c:v>274.91400879999998</c:v>
                </c:pt>
                <c:pt idx="946">
                  <c:v>270.0672295</c:v>
                </c:pt>
                <c:pt idx="947">
                  <c:v>270.188399</c:v>
                </c:pt>
                <c:pt idx="948">
                  <c:v>270.32129459999999</c:v>
                </c:pt>
                <c:pt idx="949">
                  <c:v>269.83661660000001</c:v>
                </c:pt>
                <c:pt idx="950">
                  <c:v>272.5805191</c:v>
                </c:pt>
                <c:pt idx="951">
                  <c:v>275.7661038</c:v>
                </c:pt>
                <c:pt idx="952">
                  <c:v>278.30284549999999</c:v>
                </c:pt>
                <c:pt idx="953">
                  <c:v>278.71716700000002</c:v>
                </c:pt>
                <c:pt idx="954">
                  <c:v>277.20059409999999</c:v>
                </c:pt>
                <c:pt idx="955">
                  <c:v>277.39602880000001</c:v>
                </c:pt>
                <c:pt idx="956">
                  <c:v>279.32301439999998</c:v>
                </c:pt>
                <c:pt idx="957">
                  <c:v>278.61554100000001</c:v>
                </c:pt>
                <c:pt idx="958">
                  <c:v>278.72498439999998</c:v>
                </c:pt>
                <c:pt idx="959">
                  <c:v>279.95622259999999</c:v>
                </c:pt>
                <c:pt idx="960">
                  <c:v>280.21028769999998</c:v>
                </c:pt>
                <c:pt idx="961">
                  <c:v>279.98358350000001</c:v>
                </c:pt>
                <c:pt idx="962">
                  <c:v>281.90275170000001</c:v>
                </c:pt>
                <c:pt idx="963">
                  <c:v>280.93339589999999</c:v>
                </c:pt>
                <c:pt idx="964">
                  <c:v>280.51516570000001</c:v>
                </c:pt>
                <c:pt idx="965">
                  <c:v>280.15165730000001</c:v>
                </c:pt>
                <c:pt idx="966">
                  <c:v>280.18292680000002</c:v>
                </c:pt>
                <c:pt idx="967">
                  <c:v>280.84349589999999</c:v>
                </c:pt>
                <c:pt idx="968">
                  <c:v>280.74186989999998</c:v>
                </c:pt>
                <c:pt idx="969">
                  <c:v>282.30925580000002</c:v>
                </c:pt>
                <c:pt idx="970">
                  <c:v>280.36663540000001</c:v>
                </c:pt>
                <c:pt idx="971">
                  <c:v>279.6161664</c:v>
                </c:pt>
                <c:pt idx="972">
                  <c:v>279.0963102</c:v>
                </c:pt>
                <c:pt idx="973">
                  <c:v>277.54846780000003</c:v>
                </c:pt>
                <c:pt idx="974">
                  <c:v>275.35178239999999</c:v>
                </c:pt>
                <c:pt idx="975">
                  <c:v>277.17323329999999</c:v>
                </c:pt>
                <c:pt idx="976">
                  <c:v>278.93605380000002</c:v>
                </c:pt>
                <c:pt idx="977">
                  <c:v>278.79143210000001</c:v>
                </c:pt>
                <c:pt idx="978">
                  <c:v>276.52829889999998</c:v>
                </c:pt>
                <c:pt idx="979">
                  <c:v>276.438399</c:v>
                </c:pt>
                <c:pt idx="980">
                  <c:v>279.22920579999999</c:v>
                </c:pt>
                <c:pt idx="981">
                  <c:v>280.2962789</c:v>
                </c:pt>
                <c:pt idx="982">
                  <c:v>280.87085680000001</c:v>
                </c:pt>
                <c:pt idx="983">
                  <c:v>283.22779860000003</c:v>
                </c:pt>
                <c:pt idx="984">
                  <c:v>283.19262040000001</c:v>
                </c:pt>
                <c:pt idx="985">
                  <c:v>290.48233269999997</c:v>
                </c:pt>
                <c:pt idx="986">
                  <c:v>290.98655409999998</c:v>
                </c:pt>
                <c:pt idx="987">
                  <c:v>288.238743</c:v>
                </c:pt>
                <c:pt idx="988">
                  <c:v>289.42307690000001</c:v>
                </c:pt>
                <c:pt idx="989">
                  <c:v>286.92151339999998</c:v>
                </c:pt>
                <c:pt idx="990">
                  <c:v>288.72732960000002</c:v>
                </c:pt>
                <c:pt idx="991">
                  <c:v>285.65509689999999</c:v>
                </c:pt>
                <c:pt idx="992">
                  <c:v>286.33130080000001</c:v>
                </c:pt>
                <c:pt idx="993">
                  <c:v>283.59521580000001</c:v>
                </c:pt>
                <c:pt idx="994">
                  <c:v>285.71763600000003</c:v>
                </c:pt>
                <c:pt idx="995">
                  <c:v>288.77423390000001</c:v>
                </c:pt>
                <c:pt idx="996">
                  <c:v>287.62898689999997</c:v>
                </c:pt>
                <c:pt idx="997">
                  <c:v>289.39962480000003</c:v>
                </c:pt>
                <c:pt idx="998">
                  <c:v>288.57098189999999</c:v>
                </c:pt>
                <c:pt idx="999">
                  <c:v>290.91228890000002</c:v>
                </c:pt>
                <c:pt idx="1000">
                  <c:v>292.47576609999999</c:v>
                </c:pt>
                <c:pt idx="1001">
                  <c:v>289.87648530000001</c:v>
                </c:pt>
                <c:pt idx="1002">
                  <c:v>289.79049409999999</c:v>
                </c:pt>
                <c:pt idx="1003">
                  <c:v>288.24265170000001</c:v>
                </c:pt>
                <c:pt idx="1004">
                  <c:v>288.37163850000002</c:v>
                </c:pt>
                <c:pt idx="1005">
                  <c:v>289.70059409999999</c:v>
                </c:pt>
                <c:pt idx="1006">
                  <c:v>289.5559725</c:v>
                </c:pt>
                <c:pt idx="1007">
                  <c:v>290.27908070000001</c:v>
                </c:pt>
                <c:pt idx="1008">
                  <c:v>292.51094430000001</c:v>
                </c:pt>
                <c:pt idx="1009">
                  <c:v>293.9884303</c:v>
                </c:pt>
                <c:pt idx="1010">
                  <c:v>292.03017510000001</c:v>
                </c:pt>
                <c:pt idx="1011">
                  <c:v>291.46732329999998</c:v>
                </c:pt>
                <c:pt idx="1012">
                  <c:v>291.08818009999999</c:v>
                </c:pt>
                <c:pt idx="1013">
                  <c:v>289.86866789999999</c:v>
                </c:pt>
                <c:pt idx="1014">
                  <c:v>291.67839270000002</c:v>
                </c:pt>
                <c:pt idx="1015">
                  <c:v>290.96310190000003</c:v>
                </c:pt>
                <c:pt idx="1016">
                  <c:v>289.20419010000001</c:v>
                </c:pt>
                <c:pt idx="1017">
                  <c:v>290.69340210000001</c:v>
                </c:pt>
                <c:pt idx="1018">
                  <c:v>290.924015</c:v>
                </c:pt>
                <c:pt idx="1019">
                  <c:v>290.01328960000001</c:v>
                </c:pt>
                <c:pt idx="1020">
                  <c:v>289.59115070000001</c:v>
                </c:pt>
                <c:pt idx="1021">
                  <c:v>288.31300809999999</c:v>
                </c:pt>
                <c:pt idx="1022">
                  <c:v>287.82833019999998</c:v>
                </c:pt>
                <c:pt idx="1023">
                  <c:v>289.87648530000001</c:v>
                </c:pt>
                <c:pt idx="1024">
                  <c:v>287.3827392</c:v>
                </c:pt>
                <c:pt idx="1025">
                  <c:v>287.48436520000001</c:v>
                </c:pt>
                <c:pt idx="1026">
                  <c:v>287.19121330000002</c:v>
                </c:pt>
                <c:pt idx="1027">
                  <c:v>286.94496559999999</c:v>
                </c:pt>
                <c:pt idx="1028">
                  <c:v>286.01860540000001</c:v>
                </c:pt>
                <c:pt idx="1029">
                  <c:v>284.14634150000001</c:v>
                </c:pt>
                <c:pt idx="1030">
                  <c:v>283.64602880000001</c:v>
                </c:pt>
                <c:pt idx="1031">
                  <c:v>283.4740463</c:v>
                </c:pt>
                <c:pt idx="1032">
                  <c:v>284.0056285</c:v>
                </c:pt>
                <c:pt idx="1033">
                  <c:v>284.1228893</c:v>
                </c:pt>
                <c:pt idx="1034">
                  <c:v>285.3150407</c:v>
                </c:pt>
                <c:pt idx="1035">
                  <c:v>285.95606629999997</c:v>
                </c:pt>
                <c:pt idx="1036">
                  <c:v>287.15994369999999</c:v>
                </c:pt>
                <c:pt idx="1037">
                  <c:v>287.0465916</c:v>
                </c:pt>
                <c:pt idx="1038">
                  <c:v>286.99968730000001</c:v>
                </c:pt>
                <c:pt idx="1039">
                  <c:v>289.31363349999998</c:v>
                </c:pt>
                <c:pt idx="1040">
                  <c:v>289.9898374</c:v>
                </c:pt>
                <c:pt idx="1041">
                  <c:v>290.19308940000002</c:v>
                </c:pt>
                <c:pt idx="1042">
                  <c:v>289.41525949999999</c:v>
                </c:pt>
                <c:pt idx="1043">
                  <c:v>290.38852409999998</c:v>
                </c:pt>
                <c:pt idx="1044">
                  <c:v>290.76766730000003</c:v>
                </c:pt>
                <c:pt idx="1045">
                  <c:v>291.51422760000003</c:v>
                </c:pt>
                <c:pt idx="1046">
                  <c:v>292.20997499999999</c:v>
                </c:pt>
                <c:pt idx="1047">
                  <c:v>293.71873049999999</c:v>
                </c:pt>
                <c:pt idx="1048">
                  <c:v>296.57207629999999</c:v>
                </c:pt>
                <c:pt idx="1049">
                  <c:v>296.72842400000002</c:v>
                </c:pt>
                <c:pt idx="1050">
                  <c:v>296.74796750000002</c:v>
                </c:pt>
                <c:pt idx="1051">
                  <c:v>296.30628519999999</c:v>
                </c:pt>
                <c:pt idx="1052">
                  <c:v>297.13492810000002</c:v>
                </c:pt>
                <c:pt idx="1053">
                  <c:v>298.53033149999999</c:v>
                </c:pt>
                <c:pt idx="1054">
                  <c:v>298.92901810000001</c:v>
                </c:pt>
                <c:pt idx="1055">
                  <c:v>297.26782359999999</c:v>
                </c:pt>
                <c:pt idx="1056">
                  <c:v>297.80722329999998</c:v>
                </c:pt>
                <c:pt idx="1057">
                  <c:v>299.22998749999999</c:v>
                </c:pt>
                <c:pt idx="1058">
                  <c:v>300.21888680000001</c:v>
                </c:pt>
                <c:pt idx="1059">
                  <c:v>300.37914319999999</c:v>
                </c:pt>
                <c:pt idx="1060">
                  <c:v>302.78298940000002</c:v>
                </c:pt>
                <c:pt idx="1061">
                  <c:v>305.47998749999999</c:v>
                </c:pt>
                <c:pt idx="1062">
                  <c:v>304.43636650000002</c:v>
                </c:pt>
                <c:pt idx="1063">
                  <c:v>303.90087549999998</c:v>
                </c:pt>
                <c:pt idx="1064">
                  <c:v>303.75234519999998</c:v>
                </c:pt>
                <c:pt idx="1065">
                  <c:v>304.58098810000001</c:v>
                </c:pt>
                <c:pt idx="1066">
                  <c:v>303.72107569999997</c:v>
                </c:pt>
                <c:pt idx="1067">
                  <c:v>303.72107569999997</c:v>
                </c:pt>
                <c:pt idx="1068">
                  <c:v>304.76078799999999</c:v>
                </c:pt>
                <c:pt idx="1069">
                  <c:v>305.26110069999999</c:v>
                </c:pt>
                <c:pt idx="1070">
                  <c:v>305.26110069999999</c:v>
                </c:pt>
                <c:pt idx="1071">
                  <c:v>305.06957469999998</c:v>
                </c:pt>
                <c:pt idx="1072">
                  <c:v>307.01219509999999</c:v>
                </c:pt>
                <c:pt idx="1073">
                  <c:v>303.99468419999999</c:v>
                </c:pt>
                <c:pt idx="1074">
                  <c:v>302.83771109999998</c:v>
                </c:pt>
                <c:pt idx="1075">
                  <c:v>303.55691059999998</c:v>
                </c:pt>
                <c:pt idx="1076">
                  <c:v>304.20575359999998</c:v>
                </c:pt>
                <c:pt idx="1077">
                  <c:v>304.99140089999997</c:v>
                </c:pt>
                <c:pt idx="1078">
                  <c:v>304.0259537</c:v>
                </c:pt>
                <c:pt idx="1079">
                  <c:v>304.1158537</c:v>
                </c:pt>
                <c:pt idx="1080">
                  <c:v>305.07348339999999</c:v>
                </c:pt>
                <c:pt idx="1081">
                  <c:v>303.61944970000002</c:v>
                </c:pt>
                <c:pt idx="1082">
                  <c:v>304.96794870000002</c:v>
                </c:pt>
                <c:pt idx="1083">
                  <c:v>307.24280800000003</c:v>
                </c:pt>
                <c:pt idx="1084">
                  <c:v>306.73858660000002</c:v>
                </c:pt>
                <c:pt idx="1085">
                  <c:v>304.8819575</c:v>
                </c:pt>
                <c:pt idx="1086">
                  <c:v>305.12038769999998</c:v>
                </c:pt>
                <c:pt idx="1087">
                  <c:v>305.28455279999997</c:v>
                </c:pt>
                <c:pt idx="1088">
                  <c:v>305.06957469999998</c:v>
                </c:pt>
                <c:pt idx="1089">
                  <c:v>304.85459659999998</c:v>
                </c:pt>
                <c:pt idx="1090">
                  <c:v>308.42323329999999</c:v>
                </c:pt>
                <c:pt idx="1091">
                  <c:v>308.5444028</c:v>
                </c:pt>
                <c:pt idx="1092">
                  <c:v>308.1691682</c:v>
                </c:pt>
                <c:pt idx="1093">
                  <c:v>307.36397749999998</c:v>
                </c:pt>
                <c:pt idx="1094">
                  <c:v>307.72357720000002</c:v>
                </c:pt>
                <c:pt idx="1095">
                  <c:v>309.77954970000002</c:v>
                </c:pt>
                <c:pt idx="1096">
                  <c:v>307.67667290000003</c:v>
                </c:pt>
                <c:pt idx="1097">
                  <c:v>308.93136340000001</c:v>
                </c:pt>
                <c:pt idx="1098">
                  <c:v>310.07270169999998</c:v>
                </c:pt>
                <c:pt idx="1099">
                  <c:v>307.14118200000001</c:v>
                </c:pt>
                <c:pt idx="1100">
                  <c:v>307.48514699999998</c:v>
                </c:pt>
                <c:pt idx="1101">
                  <c:v>312.02704820000002</c:v>
                </c:pt>
                <c:pt idx="1102">
                  <c:v>311.22185739999998</c:v>
                </c:pt>
                <c:pt idx="1103">
                  <c:v>308.01672919999999</c:v>
                </c:pt>
                <c:pt idx="1104">
                  <c:v>309.28705439999999</c:v>
                </c:pt>
                <c:pt idx="1105">
                  <c:v>312.74624770000003</c:v>
                </c:pt>
                <c:pt idx="1106">
                  <c:v>312.33974360000002</c:v>
                </c:pt>
                <c:pt idx="1107">
                  <c:v>313.38336459999999</c:v>
                </c:pt>
                <c:pt idx="1108">
                  <c:v>312.43355220000001</c:v>
                </c:pt>
                <c:pt idx="1109">
                  <c:v>313.29346470000002</c:v>
                </c:pt>
                <c:pt idx="1110">
                  <c:v>312.2850219</c:v>
                </c:pt>
                <c:pt idx="1111">
                  <c:v>310.6785491</c:v>
                </c:pt>
                <c:pt idx="1112">
                  <c:v>310.7293621</c:v>
                </c:pt>
                <c:pt idx="1113">
                  <c:v>308.29815509999997</c:v>
                </c:pt>
                <c:pt idx="1114">
                  <c:v>308.19262040000001</c:v>
                </c:pt>
                <c:pt idx="1115">
                  <c:v>307.55159470000001</c:v>
                </c:pt>
                <c:pt idx="1116">
                  <c:v>307.36397749999998</c:v>
                </c:pt>
                <c:pt idx="1117">
                  <c:v>304.41682300000002</c:v>
                </c:pt>
                <c:pt idx="1118">
                  <c:v>308.98999370000001</c:v>
                </c:pt>
                <c:pt idx="1119">
                  <c:v>311.45247030000002</c:v>
                </c:pt>
                <c:pt idx="1120">
                  <c:v>315.15400249999999</c:v>
                </c:pt>
                <c:pt idx="1121">
                  <c:v>315.33771109999998</c:v>
                </c:pt>
                <c:pt idx="1122">
                  <c:v>316.33442780000001</c:v>
                </c:pt>
                <c:pt idx="1123">
                  <c:v>316.66666670000001</c:v>
                </c:pt>
                <c:pt idx="1124">
                  <c:v>315.15400249999999</c:v>
                </c:pt>
                <c:pt idx="1125">
                  <c:v>314.11429020000003</c:v>
                </c:pt>
                <c:pt idx="1126">
                  <c:v>313.17620390000002</c:v>
                </c:pt>
                <c:pt idx="1127">
                  <c:v>314.84912450000002</c:v>
                </c:pt>
                <c:pt idx="1128">
                  <c:v>316.36569730000002</c:v>
                </c:pt>
                <c:pt idx="1129">
                  <c:v>318.78908689999997</c:v>
                </c:pt>
                <c:pt idx="1130">
                  <c:v>318.12070039999998</c:v>
                </c:pt>
                <c:pt idx="1131">
                  <c:v>316.89727950000002</c:v>
                </c:pt>
                <c:pt idx="1132">
                  <c:v>317.96826140000002</c:v>
                </c:pt>
                <c:pt idx="1133">
                  <c:v>320.12585990000002</c:v>
                </c:pt>
                <c:pt idx="1134">
                  <c:v>320.91150720000002</c:v>
                </c:pt>
                <c:pt idx="1135">
                  <c:v>321.97467169999999</c:v>
                </c:pt>
                <c:pt idx="1136">
                  <c:v>321.9590369</c:v>
                </c:pt>
                <c:pt idx="1137">
                  <c:v>319.01188239999999</c:v>
                </c:pt>
                <c:pt idx="1138">
                  <c:v>321.8105066</c:v>
                </c:pt>
                <c:pt idx="1139">
                  <c:v>323.70622259999999</c:v>
                </c:pt>
                <c:pt idx="1140">
                  <c:v>323.82348339999999</c:v>
                </c:pt>
                <c:pt idx="1141">
                  <c:v>325.84818639999997</c:v>
                </c:pt>
                <c:pt idx="1142">
                  <c:v>327.4429331</c:v>
                </c:pt>
                <c:pt idx="1143">
                  <c:v>328.0917761</c:v>
                </c:pt>
                <c:pt idx="1144">
                  <c:v>327.0559725</c:v>
                </c:pt>
                <c:pt idx="1145">
                  <c:v>324.35897440000002</c:v>
                </c:pt>
                <c:pt idx="1146">
                  <c:v>330.09693559999999</c:v>
                </c:pt>
                <c:pt idx="1147">
                  <c:v>332.69621640000003</c:v>
                </c:pt>
                <c:pt idx="1148">
                  <c:v>335.90134460000002</c:v>
                </c:pt>
                <c:pt idx="1149">
                  <c:v>336.00687929999998</c:v>
                </c:pt>
                <c:pt idx="1150">
                  <c:v>335.7293621</c:v>
                </c:pt>
                <c:pt idx="1151">
                  <c:v>334.51766730000003</c:v>
                </c:pt>
                <c:pt idx="1152">
                  <c:v>336.0342402</c:v>
                </c:pt>
                <c:pt idx="1153">
                  <c:v>335.68245780000001</c:v>
                </c:pt>
                <c:pt idx="1154">
                  <c:v>332.99718569999999</c:v>
                </c:pt>
                <c:pt idx="1155">
                  <c:v>333.59912450000002</c:v>
                </c:pt>
                <c:pt idx="1156">
                  <c:v>336.1319575</c:v>
                </c:pt>
                <c:pt idx="1157">
                  <c:v>335.6980926</c:v>
                </c:pt>
                <c:pt idx="1158">
                  <c:v>335.43230139999997</c:v>
                </c:pt>
                <c:pt idx="1159">
                  <c:v>328.96341460000002</c:v>
                </c:pt>
                <c:pt idx="1160">
                  <c:v>328.96341460000002</c:v>
                </c:pt>
                <c:pt idx="1161">
                  <c:v>326.74718569999999</c:v>
                </c:pt>
                <c:pt idx="1162">
                  <c:v>328.42010629999999</c:v>
                </c:pt>
                <c:pt idx="1163">
                  <c:v>325.02736090000002</c:v>
                </c:pt>
                <c:pt idx="1164">
                  <c:v>321.86913700000002</c:v>
                </c:pt>
                <c:pt idx="1165">
                  <c:v>317.69856160000001</c:v>
                </c:pt>
                <c:pt idx="1166">
                  <c:v>314.8022201</c:v>
                </c:pt>
                <c:pt idx="1167">
                  <c:v>317.88227019999999</c:v>
                </c:pt>
                <c:pt idx="1168">
                  <c:v>315.0093809</c:v>
                </c:pt>
                <c:pt idx="1169">
                  <c:v>312.3319262</c:v>
                </c:pt>
                <c:pt idx="1170">
                  <c:v>311.53455279999997</c:v>
                </c:pt>
                <c:pt idx="1171">
                  <c:v>309.83818009999999</c:v>
                </c:pt>
                <c:pt idx="1172">
                  <c:v>302.19277670000002</c:v>
                </c:pt>
                <c:pt idx="1173">
                  <c:v>302.5601939</c:v>
                </c:pt>
                <c:pt idx="1174">
                  <c:v>297.20528460000003</c:v>
                </c:pt>
                <c:pt idx="1175">
                  <c:v>305.04612259999999</c:v>
                </c:pt>
                <c:pt idx="1176">
                  <c:v>305.64024389999997</c:v>
                </c:pt>
                <c:pt idx="1177">
                  <c:v>305.37054410000002</c:v>
                </c:pt>
                <c:pt idx="1178">
                  <c:v>305.78877419999998</c:v>
                </c:pt>
                <c:pt idx="1179">
                  <c:v>294.5864603</c:v>
                </c:pt>
                <c:pt idx="1180">
                  <c:v>292.2451532</c:v>
                </c:pt>
                <c:pt idx="1181">
                  <c:v>285.97170110000002</c:v>
                </c:pt>
                <c:pt idx="1182">
                  <c:v>288.46935580000002</c:v>
                </c:pt>
                <c:pt idx="1183">
                  <c:v>293.60537840000001</c:v>
                </c:pt>
                <c:pt idx="1184">
                  <c:v>298.66713570000002</c:v>
                </c:pt>
                <c:pt idx="1185">
                  <c:v>304.75687929999998</c:v>
                </c:pt>
                <c:pt idx="1186">
                  <c:v>303.72107569999997</c:v>
                </c:pt>
                <c:pt idx="1187">
                  <c:v>303.99468419999999</c:v>
                </c:pt>
                <c:pt idx="1188">
                  <c:v>298.55378359999997</c:v>
                </c:pt>
                <c:pt idx="1189">
                  <c:v>299.37070039999998</c:v>
                </c:pt>
                <c:pt idx="1190">
                  <c:v>300.60193870000001</c:v>
                </c:pt>
                <c:pt idx="1191">
                  <c:v>293.69136959999997</c:v>
                </c:pt>
                <c:pt idx="1192">
                  <c:v>295.52845530000002</c:v>
                </c:pt>
                <c:pt idx="1193">
                  <c:v>297.77204499999999</c:v>
                </c:pt>
                <c:pt idx="1194">
                  <c:v>306.11710440000002</c:v>
                </c:pt>
                <c:pt idx="1195">
                  <c:v>306.95356470000002</c:v>
                </c:pt>
                <c:pt idx="1196">
                  <c:v>306.45716069999997</c:v>
                </c:pt>
                <c:pt idx="1197">
                  <c:v>306.25</c:v>
                </c:pt>
                <c:pt idx="1198">
                  <c:v>306.16010010000002</c:v>
                </c:pt>
                <c:pt idx="1199">
                  <c:v>307.6649468</c:v>
                </c:pt>
                <c:pt idx="1200">
                  <c:v>307.10991239999998</c:v>
                </c:pt>
                <c:pt idx="1201">
                  <c:v>308.13008129999997</c:v>
                </c:pt>
                <c:pt idx="1202">
                  <c:v>311.34693559999999</c:v>
                </c:pt>
                <c:pt idx="1203">
                  <c:v>310.88570979999997</c:v>
                </c:pt>
                <c:pt idx="1204">
                  <c:v>306.898843</c:v>
                </c:pt>
                <c:pt idx="1205">
                  <c:v>308.12226390000001</c:v>
                </c:pt>
                <c:pt idx="1206">
                  <c:v>304.76078799999999</c:v>
                </c:pt>
                <c:pt idx="1207">
                  <c:v>304.38946220000003</c:v>
                </c:pt>
                <c:pt idx="1208">
                  <c:v>301.70419010000001</c:v>
                </c:pt>
                <c:pt idx="1209">
                  <c:v>303.44355849999999</c:v>
                </c:pt>
                <c:pt idx="1210">
                  <c:v>302.25922450000002</c:v>
                </c:pt>
                <c:pt idx="1211">
                  <c:v>303.89305819999998</c:v>
                </c:pt>
                <c:pt idx="1212">
                  <c:v>302.59928079999997</c:v>
                </c:pt>
                <c:pt idx="1213">
                  <c:v>302.0090682</c:v>
                </c:pt>
                <c:pt idx="1214">
                  <c:v>303.35365849999999</c:v>
                </c:pt>
                <c:pt idx="1215">
                  <c:v>302.82989370000001</c:v>
                </c:pt>
                <c:pt idx="1216">
                  <c:v>302.40775480000002</c:v>
                </c:pt>
                <c:pt idx="1217">
                  <c:v>305.00312700000001</c:v>
                </c:pt>
                <c:pt idx="1218">
                  <c:v>305.01876170000003</c:v>
                </c:pt>
                <c:pt idx="1219">
                  <c:v>303.00578489999998</c:v>
                </c:pt>
                <c:pt idx="1220">
                  <c:v>300.16025639999998</c:v>
                </c:pt>
                <c:pt idx="1221">
                  <c:v>292.97607879999998</c:v>
                </c:pt>
                <c:pt idx="1222">
                  <c:v>286.55409630000003</c:v>
                </c:pt>
                <c:pt idx="1223">
                  <c:v>285.0101626</c:v>
                </c:pt>
                <c:pt idx="1224">
                  <c:v>279.39727950000002</c:v>
                </c:pt>
                <c:pt idx="1225">
                  <c:v>280.11257039999998</c:v>
                </c:pt>
                <c:pt idx="1226">
                  <c:v>278.95950590000001</c:v>
                </c:pt>
                <c:pt idx="1227">
                  <c:v>272.02157599999998</c:v>
                </c:pt>
                <c:pt idx="1228">
                  <c:v>270.137586</c:v>
                </c:pt>
                <c:pt idx="1229">
                  <c:v>274.93355220000001</c:v>
                </c:pt>
                <c:pt idx="1230">
                  <c:v>277.9940588</c:v>
                </c:pt>
                <c:pt idx="1231">
                  <c:v>278.33802379999997</c:v>
                </c:pt>
                <c:pt idx="1232">
                  <c:v>278.24812379999997</c:v>
                </c:pt>
                <c:pt idx="1233">
                  <c:v>274.5465916</c:v>
                </c:pt>
                <c:pt idx="1234">
                  <c:v>274.8514697</c:v>
                </c:pt>
                <c:pt idx="1235">
                  <c:v>275.71529079999999</c:v>
                </c:pt>
                <c:pt idx="1236">
                  <c:v>283.59130709999999</c:v>
                </c:pt>
                <c:pt idx="1237">
                  <c:v>288.73514699999998</c:v>
                </c:pt>
                <c:pt idx="1238">
                  <c:v>290.09537210000002</c:v>
                </c:pt>
                <c:pt idx="1239">
                  <c:v>290.02110690000001</c:v>
                </c:pt>
                <c:pt idx="1240">
                  <c:v>288.9657598</c:v>
                </c:pt>
                <c:pt idx="1241">
                  <c:v>295.927142</c:v>
                </c:pt>
                <c:pt idx="1242">
                  <c:v>296.72842400000002</c:v>
                </c:pt>
                <c:pt idx="1243">
                  <c:v>296.29455910000001</c:v>
                </c:pt>
                <c:pt idx="1244">
                  <c:v>309.27923700000002</c:v>
                </c:pt>
                <c:pt idx="1245">
                  <c:v>306.71513449999998</c:v>
                </c:pt>
              </c:numCache>
            </c:numRef>
          </c:val>
          <c:smooth val="0"/>
        </c:ser>
        <c:dLbls>
          <c:showLegendKey val="0"/>
          <c:showVal val="0"/>
          <c:showCatName val="0"/>
          <c:showSerName val="0"/>
          <c:showPercent val="0"/>
          <c:showBubbleSize val="0"/>
        </c:dLbls>
        <c:marker val="1"/>
        <c:smooth val="0"/>
        <c:axId val="267955200"/>
        <c:axId val="267956992"/>
      </c:lineChart>
      <c:dateAx>
        <c:axId val="267955200"/>
        <c:scaling>
          <c:orientation val="minMax"/>
        </c:scaling>
        <c:delete val="0"/>
        <c:axPos val="b"/>
        <c:numFmt formatCode="[$-409]mmm\-yy;@" sourceLinked="0"/>
        <c:majorTickMark val="in"/>
        <c:minorTickMark val="in"/>
        <c:tickLblPos val="nextTo"/>
        <c:spPr>
          <a:ln w="12700">
            <a:solidFill>
              <a:schemeClr val="tx2"/>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267956992"/>
        <c:crosses val="autoZero"/>
        <c:auto val="1"/>
        <c:lblOffset val="100"/>
        <c:baseTimeUnit val="days"/>
      </c:dateAx>
      <c:valAx>
        <c:axId val="267956992"/>
        <c:scaling>
          <c:orientation val="minMax"/>
        </c:scaling>
        <c:delete val="0"/>
        <c:axPos val="l"/>
        <c:majorGridlines>
          <c:spPr>
            <a:ln w="12700" cmpd="sng">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267955200"/>
        <c:crosses val="autoZero"/>
        <c:crossBetween val="between"/>
      </c:valAx>
      <c:spPr>
        <a:noFill/>
        <a:ln w="25313">
          <a:noFill/>
        </a:ln>
      </c:spPr>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486498846735067"/>
          <c:y val="0.13834581652903144"/>
          <c:w val="0.55742907707022626"/>
          <c:h val="0.72366077732620804"/>
        </c:manualLayout>
      </c:layout>
      <c:pieChart>
        <c:varyColors val="1"/>
        <c:dLbls>
          <c:showLegendKey val="0"/>
          <c:showVal val="1"/>
          <c:showCatName val="1"/>
          <c:showSerName val="0"/>
          <c:showPercent val="0"/>
          <c:showBubbleSize val="0"/>
          <c:showLeaderLines val="0"/>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spPr>
              <a:solidFill>
                <a:schemeClr val="accent2"/>
              </a:solidFill>
              <a:ln>
                <a:noFill/>
              </a:ln>
            </c:spPr>
          </c:dPt>
          <c:dPt>
            <c:idx val="1"/>
            <c:invertIfNegative val="0"/>
            <c:bubble3D val="0"/>
            <c:spPr>
              <a:solidFill>
                <a:schemeClr val="accent2"/>
              </a:solidFill>
              <a:ln>
                <a:noFill/>
              </a:ln>
            </c:spPr>
          </c:dPt>
          <c:dPt>
            <c:idx val="2"/>
            <c:invertIfNegative val="0"/>
            <c:bubble3D val="0"/>
            <c:spPr>
              <a:solidFill>
                <a:schemeClr val="accent2"/>
              </a:solidFill>
              <a:ln>
                <a:noFill/>
              </a:ln>
            </c:spPr>
          </c:dPt>
          <c:dPt>
            <c:idx val="3"/>
            <c:invertIfNegative val="0"/>
            <c:bubble3D val="0"/>
            <c:spPr>
              <a:solidFill>
                <a:schemeClr val="accent2"/>
              </a:solidFill>
              <a:ln>
                <a:noFill/>
              </a:ln>
            </c:spPr>
          </c:dPt>
          <c:dPt>
            <c:idx val="4"/>
            <c:invertIfNegative val="0"/>
            <c:bubble3D val="0"/>
            <c:spPr>
              <a:solidFill>
                <a:schemeClr val="accent2"/>
              </a:solidFill>
              <a:ln>
                <a:noFill/>
              </a:ln>
            </c:spPr>
          </c:dPt>
          <c:dPt>
            <c:idx val="5"/>
            <c:invertIfNegative val="0"/>
            <c:bubble3D val="0"/>
            <c:spPr>
              <a:solidFill>
                <a:schemeClr val="accent2"/>
              </a:solidFill>
              <a:ln>
                <a:noFill/>
              </a:ln>
            </c:spPr>
          </c:dPt>
          <c:dPt>
            <c:idx val="6"/>
            <c:invertIfNegative val="0"/>
            <c:bubble3D val="0"/>
            <c:spPr>
              <a:solidFill>
                <a:schemeClr val="accent2"/>
              </a:solidFill>
              <a:ln>
                <a:noFill/>
              </a:ln>
            </c:spPr>
          </c:dPt>
          <c:dPt>
            <c:idx val="7"/>
            <c:invertIfNegative val="0"/>
            <c:bubble3D val="0"/>
            <c:spPr>
              <a:solidFill>
                <a:schemeClr val="accent2"/>
              </a:solidFill>
              <a:ln>
                <a:noFill/>
              </a:ln>
            </c:spPr>
          </c:dPt>
          <c:dPt>
            <c:idx val="8"/>
            <c:invertIfNegative val="0"/>
            <c:bubble3D val="0"/>
            <c:spPr>
              <a:solidFill>
                <a:schemeClr val="accent2"/>
              </a:solidFill>
              <a:ln>
                <a:noFill/>
              </a:ln>
            </c:spPr>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11</c:f>
              <c:strCache>
                <c:ptCount val="10"/>
                <c:pt idx="0">
                  <c:v>Technology</c:v>
                </c:pt>
                <c:pt idx="1">
                  <c:v>Financials</c:v>
                </c:pt>
                <c:pt idx="2">
                  <c:v>Utilities</c:v>
                </c:pt>
                <c:pt idx="3">
                  <c:v>Telecommunications</c:v>
                </c:pt>
                <c:pt idx="4">
                  <c:v>Health care</c:v>
                </c:pt>
                <c:pt idx="5">
                  <c:v>Consumer services</c:v>
                </c:pt>
                <c:pt idx="6">
                  <c:v>Consumer goods</c:v>
                </c:pt>
                <c:pt idx="7">
                  <c:v>Industrials</c:v>
                </c:pt>
                <c:pt idx="8">
                  <c:v>Basic materials</c:v>
                </c:pt>
                <c:pt idx="9">
                  <c:v>Oil and gas</c:v>
                </c:pt>
              </c:strCache>
            </c:strRef>
          </c:cat>
          <c:val>
            <c:numRef>
              <c:f>Sheet1!$B$2:$B$11</c:f>
              <c:numCache>
                <c:formatCode>0.00%</c:formatCode>
                <c:ptCount val="10"/>
                <c:pt idx="0">
                  <c:v>5.0000000000000001E-3</c:v>
                </c:pt>
                <c:pt idx="1">
                  <c:v>0.01</c:v>
                </c:pt>
                <c:pt idx="2">
                  <c:v>0.05</c:v>
                </c:pt>
                <c:pt idx="3">
                  <c:v>0.08</c:v>
                </c:pt>
                <c:pt idx="4">
                  <c:v>0.1</c:v>
                </c:pt>
                <c:pt idx="5">
                  <c:v>0.1</c:v>
                </c:pt>
                <c:pt idx="6">
                  <c:v>0.11</c:v>
                </c:pt>
                <c:pt idx="7">
                  <c:v>0.13</c:v>
                </c:pt>
                <c:pt idx="8">
                  <c:v>0.18</c:v>
                </c:pt>
                <c:pt idx="9">
                  <c:v>0.23499999999999999</c:v>
                </c:pt>
              </c:numCache>
            </c:numRef>
          </c:val>
        </c:ser>
        <c:dLbls>
          <c:showLegendKey val="0"/>
          <c:showVal val="0"/>
          <c:showCatName val="0"/>
          <c:showSerName val="0"/>
          <c:showPercent val="0"/>
          <c:showBubbleSize val="0"/>
        </c:dLbls>
        <c:gapWidth val="150"/>
        <c:axId val="268149504"/>
        <c:axId val="268151040"/>
      </c:barChart>
      <c:catAx>
        <c:axId val="268149504"/>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268151040"/>
        <c:crosses val="autoZero"/>
        <c:auto val="1"/>
        <c:lblAlgn val="ctr"/>
        <c:lblOffset val="100"/>
        <c:noMultiLvlLbl val="0"/>
      </c:catAx>
      <c:valAx>
        <c:axId val="268151040"/>
        <c:scaling>
          <c:orientation val="minMax"/>
        </c:scaling>
        <c:delete val="1"/>
        <c:axPos val="b"/>
        <c:numFmt formatCode="0.00%" sourceLinked="1"/>
        <c:majorTickMark val="out"/>
        <c:minorTickMark val="none"/>
        <c:tickLblPos val="nextTo"/>
        <c:crossAx val="268149504"/>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886258508311394"/>
          <c:y val="4.7335217383282183E-2"/>
          <c:w val="0.61041485569213483"/>
          <c:h val="0.93568398803556518"/>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spPr>
              <a:solidFill>
                <a:schemeClr val="accent2"/>
              </a:solidFill>
              <a:ln>
                <a:noFill/>
              </a:ln>
            </c:spPr>
          </c:dPt>
          <c:dPt>
            <c:idx val="1"/>
            <c:invertIfNegative val="0"/>
            <c:bubble3D val="0"/>
            <c:spPr>
              <a:solidFill>
                <a:schemeClr val="accent2"/>
              </a:solidFill>
              <a:ln>
                <a:noFill/>
              </a:ln>
            </c:spPr>
          </c:dPt>
          <c:dPt>
            <c:idx val="2"/>
            <c:invertIfNegative val="0"/>
            <c:bubble3D val="0"/>
            <c:spPr>
              <a:solidFill>
                <a:schemeClr val="accent2"/>
              </a:solidFill>
              <a:ln>
                <a:noFill/>
              </a:ln>
            </c:spPr>
          </c:dPt>
          <c:dPt>
            <c:idx val="3"/>
            <c:invertIfNegative val="0"/>
            <c:bubble3D val="0"/>
            <c:spPr>
              <a:solidFill>
                <a:schemeClr val="accent2"/>
              </a:solidFill>
              <a:ln>
                <a:noFill/>
              </a:ln>
            </c:spPr>
          </c:dPt>
          <c:dPt>
            <c:idx val="4"/>
            <c:invertIfNegative val="0"/>
            <c:bubble3D val="0"/>
            <c:spPr>
              <a:solidFill>
                <a:schemeClr val="accent2"/>
              </a:solidFill>
              <a:ln>
                <a:noFill/>
              </a:ln>
            </c:spPr>
          </c:dPt>
          <c:dPt>
            <c:idx val="5"/>
            <c:invertIfNegative val="0"/>
            <c:bubble3D val="0"/>
            <c:spPr>
              <a:solidFill>
                <a:schemeClr val="accent2"/>
              </a:solidFill>
              <a:ln>
                <a:noFill/>
              </a:ln>
            </c:spPr>
          </c:dPt>
          <c:dPt>
            <c:idx val="6"/>
            <c:invertIfNegative val="0"/>
            <c:bubble3D val="0"/>
            <c:spPr>
              <a:solidFill>
                <a:schemeClr val="accent2"/>
              </a:solidFill>
              <a:ln>
                <a:noFill/>
              </a:ln>
            </c:spPr>
          </c:dPt>
          <c:dPt>
            <c:idx val="7"/>
            <c:invertIfNegative val="0"/>
            <c:bubble3D val="0"/>
            <c:spPr>
              <a:solidFill>
                <a:schemeClr val="accent2"/>
              </a:solidFill>
              <a:ln>
                <a:noFill/>
              </a:ln>
            </c:spPr>
          </c:dPt>
          <c:dPt>
            <c:idx val="8"/>
            <c:invertIfNegative val="0"/>
            <c:bubble3D val="0"/>
            <c:spPr>
              <a:solidFill>
                <a:schemeClr val="accent2"/>
              </a:solidFill>
              <a:ln>
                <a:noFill/>
              </a:ln>
            </c:spPr>
          </c:dPt>
          <c:dPt>
            <c:idx val="9"/>
            <c:invertIfNegative val="0"/>
            <c:bubble3D val="0"/>
            <c:spPr>
              <a:solidFill>
                <a:schemeClr val="accent2"/>
              </a:solidFill>
              <a:ln>
                <a:noFill/>
              </a:ln>
            </c:spPr>
          </c:dPt>
          <c:dPt>
            <c:idx val="10"/>
            <c:invertIfNegative val="0"/>
            <c:bubble3D val="0"/>
            <c:spPr>
              <a:solidFill>
                <a:schemeClr val="accent2"/>
              </a:solidFill>
              <a:ln>
                <a:noFill/>
              </a:ln>
            </c:spPr>
          </c:dPt>
          <c:dPt>
            <c:idx val="11"/>
            <c:invertIfNegative val="0"/>
            <c:bubble3D val="0"/>
            <c:spPr>
              <a:solidFill>
                <a:schemeClr val="accent2"/>
              </a:solidFill>
              <a:ln>
                <a:noFill/>
              </a:ln>
            </c:spPr>
          </c:dPt>
          <c:dPt>
            <c:idx val="12"/>
            <c:invertIfNegative val="0"/>
            <c:bubble3D val="0"/>
            <c:spPr>
              <a:solidFill>
                <a:schemeClr val="accent2"/>
              </a:solidFill>
              <a:ln>
                <a:noFill/>
              </a:ln>
            </c:spPr>
          </c:dPt>
          <c:dPt>
            <c:idx val="13"/>
            <c:invertIfNegative val="0"/>
            <c:bubble3D val="0"/>
            <c:spPr>
              <a:solidFill>
                <a:schemeClr val="accent2"/>
              </a:solidFill>
              <a:ln>
                <a:noFill/>
              </a:ln>
            </c:spPr>
          </c:dPt>
          <c:dPt>
            <c:idx val="14"/>
            <c:invertIfNegative val="0"/>
            <c:bubble3D val="0"/>
            <c:spPr>
              <a:solidFill>
                <a:schemeClr val="accent2"/>
              </a:solidFill>
              <a:ln>
                <a:noFill/>
              </a:ln>
            </c:spPr>
          </c:dPt>
          <c:dPt>
            <c:idx val="15"/>
            <c:invertIfNegative val="0"/>
            <c:bubble3D val="0"/>
            <c:spPr>
              <a:solidFill>
                <a:schemeClr val="accent2"/>
              </a:solidFill>
              <a:ln>
                <a:noFill/>
              </a:ln>
            </c:spPr>
          </c:dPt>
          <c:dPt>
            <c:idx val="16"/>
            <c:invertIfNegative val="0"/>
            <c:bubble3D val="0"/>
            <c:spPr>
              <a:solidFill>
                <a:schemeClr val="accent2"/>
              </a:solidFill>
              <a:ln>
                <a:noFill/>
              </a:ln>
            </c:spPr>
          </c:dPt>
          <c:dPt>
            <c:idx val="17"/>
            <c:invertIfNegative val="0"/>
            <c:bubble3D val="0"/>
            <c:spPr>
              <a:solidFill>
                <a:schemeClr val="accent2"/>
              </a:solidFill>
              <a:ln>
                <a:solidFill>
                  <a:schemeClr val="accent2"/>
                </a:solidFill>
              </a:ln>
            </c:spPr>
          </c:dPt>
          <c:dPt>
            <c:idx val="18"/>
            <c:invertIfNegative val="0"/>
            <c:bubble3D val="0"/>
            <c:spPr>
              <a:solidFill>
                <a:schemeClr val="accent2"/>
              </a:solidFill>
              <a:ln>
                <a:solidFill>
                  <a:schemeClr val="accent2"/>
                </a:solidFill>
              </a:ln>
            </c:spPr>
          </c:dPt>
          <c:dLbls>
            <c:dLbl>
              <c:idx val="2"/>
              <c:layout>
                <c:manualLayout>
                  <c:x val="-8.5593467483231263E-3"/>
                  <c:y val="-3.472222222222222E-3"/>
                </c:manualLayout>
              </c:layout>
              <c:showLegendKey val="0"/>
              <c:showVal val="1"/>
              <c:showCatName val="0"/>
              <c:showSerName val="0"/>
              <c:showPercent val="0"/>
              <c:showBubbleSize val="0"/>
              <c:separator>
</c:separator>
            </c:dLbl>
            <c:dLblPos val="outEnd"/>
            <c:showLegendKey val="0"/>
            <c:showVal val="1"/>
            <c:showCatName val="0"/>
            <c:showSerName val="0"/>
            <c:showPercent val="0"/>
            <c:showBubbleSize val="0"/>
            <c:separator>
</c:separator>
            <c:showLeaderLines val="0"/>
          </c:dLbls>
          <c:cat>
            <c:strRef>
              <c:f>Sheet1!$A$2:$A$20</c:f>
              <c:strCache>
                <c:ptCount val="19"/>
                <c:pt idx="0">
                  <c:v>Technology</c:v>
                </c:pt>
                <c:pt idx="1">
                  <c:v>Real estate</c:v>
                </c:pt>
                <c:pt idx="2">
                  <c:v>Retail</c:v>
                </c:pt>
                <c:pt idx="3">
                  <c:v>Financial services</c:v>
                </c:pt>
                <c:pt idx="4">
                  <c:v>Telecommunications</c:v>
                </c:pt>
                <c:pt idx="5">
                  <c:v>Personal &amp; household goods</c:v>
                </c:pt>
                <c:pt idx="6">
                  <c:v>Health care</c:v>
                </c:pt>
                <c:pt idx="7">
                  <c:v>Insurance</c:v>
                </c:pt>
                <c:pt idx="8">
                  <c:v>Food &amp; beverages</c:v>
                </c:pt>
                <c:pt idx="9">
                  <c:v>Automobiles &amp; parts</c:v>
                </c:pt>
                <c:pt idx="10">
                  <c:v>Industrial goods &amp; services</c:v>
                </c:pt>
                <c:pt idx="11">
                  <c:v>Utilities</c:v>
                </c:pt>
                <c:pt idx="12">
                  <c:v>Construction &amp; materials</c:v>
                </c:pt>
                <c:pt idx="13">
                  <c:v>Travel &amp; leisure</c:v>
                </c:pt>
                <c:pt idx="14">
                  <c:v>Basic resources</c:v>
                </c:pt>
                <c:pt idx="15">
                  <c:v>Chemicals</c:v>
                </c:pt>
                <c:pt idx="16">
                  <c:v>Banks</c:v>
                </c:pt>
                <c:pt idx="17">
                  <c:v>Media</c:v>
                </c:pt>
                <c:pt idx="18">
                  <c:v>Oil and gas</c:v>
                </c:pt>
              </c:strCache>
            </c:strRef>
          </c:cat>
          <c:val>
            <c:numRef>
              <c:f>Sheet1!$B$2:$B$20</c:f>
              <c:numCache>
                <c:formatCode>0.0%</c:formatCode>
                <c:ptCount val="19"/>
                <c:pt idx="0">
                  <c:v>5.0000000000000001E-3</c:v>
                </c:pt>
                <c:pt idx="1">
                  <c:v>8.0000000000000002E-3</c:v>
                </c:pt>
                <c:pt idx="2">
                  <c:v>0.01</c:v>
                </c:pt>
                <c:pt idx="3">
                  <c:v>0.01</c:v>
                </c:pt>
                <c:pt idx="4">
                  <c:v>1.4999999999999999E-2</c:v>
                </c:pt>
                <c:pt idx="5">
                  <c:v>0.02</c:v>
                </c:pt>
                <c:pt idx="6">
                  <c:v>2.1999999999999999E-2</c:v>
                </c:pt>
                <c:pt idx="7">
                  <c:v>0.03</c:v>
                </c:pt>
                <c:pt idx="8">
                  <c:v>0.04</c:v>
                </c:pt>
                <c:pt idx="9">
                  <c:v>0.05</c:v>
                </c:pt>
                <c:pt idx="10">
                  <c:v>0.06</c:v>
                </c:pt>
                <c:pt idx="11">
                  <c:v>0.06</c:v>
                </c:pt>
                <c:pt idx="12">
                  <c:v>7.0000000000000007E-2</c:v>
                </c:pt>
                <c:pt idx="13">
                  <c:v>7.0000000000000007E-2</c:v>
                </c:pt>
                <c:pt idx="14">
                  <c:v>0.08</c:v>
                </c:pt>
                <c:pt idx="15">
                  <c:v>0.09</c:v>
                </c:pt>
                <c:pt idx="16">
                  <c:v>0.09</c:v>
                </c:pt>
                <c:pt idx="17">
                  <c:v>0.11</c:v>
                </c:pt>
                <c:pt idx="18">
                  <c:v>0.16</c:v>
                </c:pt>
              </c:numCache>
            </c:numRef>
          </c:val>
        </c:ser>
        <c:dLbls>
          <c:showLegendKey val="0"/>
          <c:showVal val="0"/>
          <c:showCatName val="0"/>
          <c:showSerName val="0"/>
          <c:showPercent val="0"/>
          <c:showBubbleSize val="0"/>
        </c:dLbls>
        <c:gapWidth val="150"/>
        <c:axId val="266411008"/>
        <c:axId val="266409472"/>
      </c:barChart>
      <c:valAx>
        <c:axId val="266409472"/>
        <c:scaling>
          <c:orientation val="minMax"/>
        </c:scaling>
        <c:delete val="1"/>
        <c:axPos val="b"/>
        <c:numFmt formatCode="0.0%" sourceLinked="1"/>
        <c:majorTickMark val="out"/>
        <c:minorTickMark val="none"/>
        <c:tickLblPos val="nextTo"/>
        <c:crossAx val="266411008"/>
        <c:crosses val="autoZero"/>
        <c:crossBetween val="between"/>
      </c:valAx>
      <c:catAx>
        <c:axId val="266411008"/>
        <c:scaling>
          <c:orientation val="minMax"/>
        </c:scaling>
        <c:delete val="0"/>
        <c:axPos val="l"/>
        <c:majorTickMark val="none"/>
        <c:minorTickMark val="none"/>
        <c:tickLblPos val="nextTo"/>
        <c:spPr>
          <a:ln w="6350" cmpd="sng">
            <a:solidFill>
              <a:schemeClr val="tx2"/>
            </a:solidFill>
          </a:ln>
        </c:spPr>
        <c:txPr>
          <a:bodyPr rot="0"/>
          <a:lstStyle/>
          <a:p>
            <a:pPr>
              <a:defRPr sz="900"/>
            </a:pPr>
            <a:endParaRPr lang="en-US"/>
          </a:p>
        </c:txPr>
        <c:crossAx val="266409472"/>
        <c:crosses val="autoZero"/>
        <c:auto val="0"/>
        <c:lblAlgn val="ctr"/>
        <c:lblOffset val="100"/>
        <c:noMultiLvlLbl val="0"/>
      </c:catAx>
    </c:plotArea>
    <c:plotVisOnly val="1"/>
    <c:dispBlanksAs val="gap"/>
    <c:showDLblsOverMax val="0"/>
  </c:chart>
  <c:spPr>
    <a:solidFill>
      <a:schemeClr val="bg1"/>
    </a:solidFill>
  </c:spPr>
  <c:txPr>
    <a:bodyPr/>
    <a:lstStyle/>
    <a:p>
      <a:pPr>
        <a:defRPr sz="10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Weight</c:v>
                </c:pt>
              </c:strCache>
            </c:strRef>
          </c:tx>
          <c:spPr>
            <a:solidFill>
              <a:schemeClr val="accent2"/>
            </a:solidFill>
            <a:ln w="28575">
              <a:solidFill>
                <a:schemeClr val="bg1"/>
              </a:solidFill>
            </a:ln>
          </c:spPr>
          <c:dLbls>
            <c:dLbl>
              <c:idx val="0"/>
              <c:layout>
                <c:manualLayout>
                  <c:x val="1.3079019073569483E-2"/>
                  <c:y val="-0.15646384590049667"/>
                </c:manualLayout>
              </c:layout>
              <c:showLegendKey val="0"/>
              <c:showVal val="1"/>
              <c:showCatName val="1"/>
              <c:showSerName val="0"/>
              <c:showPercent val="0"/>
              <c:showBubbleSize val="0"/>
              <c:separator>
</c:separator>
            </c:dLbl>
            <c:dLbl>
              <c:idx val="1"/>
              <c:layout>
                <c:manualLayout>
                  <c:x val="6.9754596751700315E-2"/>
                  <c:y val="-0.15646384590049667"/>
                </c:manualLayout>
              </c:layout>
              <c:showLegendKey val="0"/>
              <c:showVal val="1"/>
              <c:showCatName val="1"/>
              <c:showSerName val="0"/>
              <c:showPercent val="0"/>
              <c:showBubbleSize val="0"/>
              <c:separator>
</c:separator>
            </c:dLbl>
            <c:dLbl>
              <c:idx val="2"/>
              <c:layout>
                <c:manualLayout>
                  <c:x val="0.11335149863760226"/>
                  <c:y val="-0.10430923060033111"/>
                </c:manualLayout>
              </c:layout>
              <c:showLegendKey val="0"/>
              <c:showVal val="1"/>
              <c:showCatName val="1"/>
              <c:showSerName val="0"/>
              <c:showPercent val="0"/>
              <c:showBubbleSize val="0"/>
              <c:separator>
</c:separator>
            </c:dLbl>
            <c:dLbl>
              <c:idx val="3"/>
              <c:layout>
                <c:manualLayout>
                  <c:x val="0.13079019073569481"/>
                  <c:y val="-2.7377750813735197E-7"/>
                </c:manualLayout>
              </c:layout>
              <c:showLegendKey val="0"/>
              <c:showVal val="1"/>
              <c:showCatName val="1"/>
              <c:showSerName val="0"/>
              <c:showPercent val="0"/>
              <c:showBubbleSize val="0"/>
              <c:separator>
</c:separator>
            </c:dLbl>
            <c:dLbl>
              <c:idx val="4"/>
              <c:layout>
                <c:manualLayout>
                  <c:x val="0.14168937329700274"/>
                  <c:y val="8.3447384480264883E-2"/>
                </c:manualLayout>
              </c:layout>
              <c:showLegendKey val="0"/>
              <c:showVal val="1"/>
              <c:showCatName val="1"/>
              <c:showSerName val="0"/>
              <c:showPercent val="0"/>
              <c:showBubbleSize val="0"/>
              <c:separator>
</c:separator>
            </c:dLbl>
            <c:dLbl>
              <c:idx val="5"/>
              <c:layout>
                <c:manualLayout>
                  <c:x val="5.8855585831062672E-2"/>
                  <c:y val="0.16689476896052977"/>
                </c:manualLayout>
              </c:layout>
              <c:showLegendKey val="0"/>
              <c:showVal val="1"/>
              <c:showCatName val="1"/>
              <c:showSerName val="0"/>
              <c:showPercent val="0"/>
              <c:showBubbleSize val="0"/>
              <c:separator>
</c:separator>
            </c:dLbl>
            <c:dLbl>
              <c:idx val="6"/>
              <c:layout>
                <c:manualLayout>
                  <c:x val="-5.0136411422686607E-2"/>
                  <c:y val="0.16689476896052977"/>
                </c:manualLayout>
              </c:layout>
              <c:showLegendKey val="0"/>
              <c:showVal val="1"/>
              <c:showCatName val="1"/>
              <c:showSerName val="0"/>
              <c:showPercent val="0"/>
              <c:showBubbleSize val="0"/>
              <c:separator>
</c:separator>
            </c:dLbl>
            <c:dLbl>
              <c:idx val="7"/>
              <c:layout>
                <c:manualLayout>
                  <c:x val="-0.13514986376021795"/>
                  <c:y val="9.040133318695362E-2"/>
                </c:manualLayout>
              </c:layout>
              <c:showLegendKey val="0"/>
              <c:showVal val="1"/>
              <c:showCatName val="1"/>
              <c:showSerName val="0"/>
              <c:showPercent val="0"/>
              <c:showBubbleSize val="0"/>
              <c:separator>
</c:separator>
            </c:dLbl>
            <c:dLbl>
              <c:idx val="8"/>
              <c:layout>
                <c:manualLayout>
                  <c:x val="-0.14168937329700274"/>
                  <c:y val="-2.7377750813735197E-7"/>
                </c:manualLayout>
              </c:layout>
              <c:showLegendKey val="0"/>
              <c:showVal val="1"/>
              <c:showCatName val="1"/>
              <c:showSerName val="0"/>
              <c:showPercent val="0"/>
              <c:showBubbleSize val="0"/>
              <c:separator>
</c:separator>
            </c:dLbl>
            <c:dLbl>
              <c:idx val="9"/>
              <c:layout>
                <c:manualLayout>
                  <c:x val="-0.13514986376021798"/>
                  <c:y val="-9.3878307540297995E-2"/>
                </c:manualLayout>
              </c:layout>
              <c:showLegendKey val="0"/>
              <c:showVal val="1"/>
              <c:showCatName val="1"/>
              <c:showSerName val="0"/>
              <c:showPercent val="0"/>
              <c:showBubbleSize val="0"/>
              <c:separator>
</c:separator>
            </c:dLbl>
            <c:dLbl>
              <c:idx val="10"/>
              <c:layout>
                <c:manualLayout>
                  <c:x val="-6.9755111673711082E-2"/>
                  <c:y val="-0.14950989719380792"/>
                </c:manualLayout>
              </c:layout>
              <c:showLegendKey val="0"/>
              <c:showVal val="1"/>
              <c:showCatName val="1"/>
              <c:showSerName val="0"/>
              <c:showPercent val="0"/>
              <c:showBubbleSize val="0"/>
              <c:separator>
</c:separator>
            </c:dLbl>
            <c:numFmt formatCode="0.0%" sourceLinked="0"/>
            <c:txPr>
              <a:bodyPr/>
              <a:lstStyle/>
              <a:p>
                <a:pPr>
                  <a:defRPr sz="1000" baseline="0"/>
                </a:pPr>
                <a:endParaRPr lang="en-US"/>
              </a:p>
            </c:txPr>
            <c:showLegendKey val="0"/>
            <c:showVal val="1"/>
            <c:showCatName val="1"/>
            <c:showSerName val="0"/>
            <c:showPercent val="0"/>
            <c:showBubbleSize val="0"/>
            <c:separator>
</c:separator>
            <c:showLeaderLines val="1"/>
          </c:dLbls>
          <c:cat>
            <c:strRef>
              <c:f>Sheet1!$A$2:$A$12</c:f>
              <c:strCache>
                <c:ptCount val="11"/>
                <c:pt idx="0">
                  <c:v>Country I</c:v>
                </c:pt>
                <c:pt idx="1">
                  <c:v>Others</c:v>
                </c:pt>
                <c:pt idx="2">
                  <c:v>Country A</c:v>
                </c:pt>
                <c:pt idx="3">
                  <c:v>Country B</c:v>
                </c:pt>
                <c:pt idx="4">
                  <c:v>Country C</c:v>
                </c:pt>
                <c:pt idx="5">
                  <c:v>Country D</c:v>
                </c:pt>
                <c:pt idx="6">
                  <c:v>Country E</c:v>
                </c:pt>
                <c:pt idx="7">
                  <c:v>Country F</c:v>
                </c:pt>
                <c:pt idx="8">
                  <c:v>Country G</c:v>
                </c:pt>
                <c:pt idx="9">
                  <c:v>Country H</c:v>
                </c:pt>
                <c:pt idx="10">
                  <c:v>Country J</c:v>
                </c:pt>
              </c:strCache>
            </c:strRef>
          </c:cat>
          <c:val>
            <c:numRef>
              <c:f>Sheet1!$B$2:$B$12</c:f>
              <c:numCache>
                <c:formatCode>0.00%</c:formatCode>
                <c:ptCount val="11"/>
                <c:pt idx="0">
                  <c:v>0.05</c:v>
                </c:pt>
                <c:pt idx="1">
                  <c:v>0.05</c:v>
                </c:pt>
                <c:pt idx="2">
                  <c:v>0.1</c:v>
                </c:pt>
                <c:pt idx="3">
                  <c:v>0.1</c:v>
                </c:pt>
                <c:pt idx="4">
                  <c:v>0.1</c:v>
                </c:pt>
                <c:pt idx="5">
                  <c:v>0.1</c:v>
                </c:pt>
                <c:pt idx="6">
                  <c:v>0.1</c:v>
                </c:pt>
                <c:pt idx="7">
                  <c:v>0.1</c:v>
                </c:pt>
                <c:pt idx="8">
                  <c:v>0.1</c:v>
                </c:pt>
                <c:pt idx="9">
                  <c:v>0.1</c:v>
                </c:pt>
                <c:pt idx="10">
                  <c:v>0.1</c:v>
                </c:pt>
              </c:numCache>
            </c:numRef>
          </c:val>
        </c:ser>
        <c:dLbls>
          <c:showLegendKey val="0"/>
          <c:showVal val="0"/>
          <c:showCatName val="1"/>
          <c:showSerName val="0"/>
          <c:showPercent val="1"/>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15.07.2014</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91D65369-8E24-4680-A96B-5E6163E9F82C}" type="slidenum">
              <a:rPr lang="de-DE" smtClean="0"/>
              <a:pPr/>
              <a:t>3</a:t>
            </a:fld>
            <a:endParaRPr lang="de-DE" dirty="0" smtClean="0"/>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6</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7</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9</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9</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4065" y="8685048"/>
            <a:ext cx="2972335" cy="457493"/>
          </a:xfrm>
          <a:prstGeom prst="rect">
            <a:avLst/>
          </a:prstGeom>
          <a:noFill/>
          <a:ln w="9525">
            <a:noFill/>
            <a:miter lim="800000"/>
            <a:headEnd/>
            <a:tailEnd/>
          </a:ln>
        </p:spPr>
        <p:txBody>
          <a:bodyPr anchor="b"/>
          <a:lstStyle/>
          <a:p>
            <a:pPr algn="r">
              <a:spcBef>
                <a:spcPct val="0"/>
              </a:spcBef>
            </a:pPr>
            <a:fld id="{C7290348-950D-4A40-BFD8-75C8DCFB4773}" type="slidenum">
              <a:rPr lang="de-DE" sz="1200" b="0">
                <a:solidFill>
                  <a:prstClr val="black"/>
                </a:solidFill>
                <a:cs typeface="Arial" charset="0"/>
              </a:rPr>
              <a:pPr algn="r">
                <a:spcBef>
                  <a:spcPct val="0"/>
                </a:spcBef>
              </a:pPr>
              <a:t>10</a:t>
            </a:fld>
            <a:endParaRPr lang="de-DE" sz="1200" b="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14936" y="4343988"/>
            <a:ext cx="5028131" cy="4114509"/>
          </a:xfrm>
          <a:noFill/>
          <a:ln/>
        </p:spPr>
        <p:txBody>
          <a:bodyPr/>
          <a:lstStyle/>
          <a:p>
            <a:pPr eaLnBrk="1" hangingPunct="1"/>
            <a:endParaRPr lang="en-US" dirty="0" smtClean="0"/>
          </a:p>
        </p:txBody>
      </p:sp>
      <p:sp>
        <p:nvSpPr>
          <p:cNvPr id="46085" name="Slide Number Placeholder 3"/>
          <p:cNvSpPr txBox="1">
            <a:spLocks noGrp="1"/>
          </p:cNvSpPr>
          <p:nvPr/>
        </p:nvSpPr>
        <p:spPr bwMode="auto">
          <a:xfrm>
            <a:off x="3885666" y="8686510"/>
            <a:ext cx="2972334" cy="457491"/>
          </a:xfrm>
          <a:prstGeom prst="rect">
            <a:avLst/>
          </a:prstGeom>
          <a:noFill/>
          <a:ln w="9525">
            <a:noFill/>
            <a:miter lim="800000"/>
            <a:headEnd/>
            <a:tailEnd/>
          </a:ln>
        </p:spPr>
        <p:txBody>
          <a:bodyPr anchor="b"/>
          <a:lstStyle/>
          <a:p>
            <a:pPr algn="r" eaLnBrk="0" hangingPunct="0">
              <a:spcBef>
                <a:spcPct val="0"/>
              </a:spcBef>
            </a:pPr>
            <a:fld id="{99868DBA-5EA7-4DDB-B474-8A2272AB207C}" type="slidenum">
              <a:rPr lang="de-DE" sz="1200" b="0">
                <a:solidFill>
                  <a:prstClr val="black"/>
                </a:solidFill>
                <a:ea typeface="ＭＳ Ｐゴシック" pitchFamily="34" charset="-128"/>
                <a:cs typeface="Arial" charset="0"/>
              </a:rPr>
              <a:pPr algn="r" eaLnBrk="0" hangingPunct="0">
                <a:spcBef>
                  <a:spcPct val="0"/>
                </a:spcBef>
              </a:pPr>
              <a:t>10</a:t>
            </a:fld>
            <a:endParaRPr lang="de-DE" sz="1200" b="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2845495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4466695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5361832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8288779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4620641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8524770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25525876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543260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1229526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485149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394090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782946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7798222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130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459961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3241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720423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5216074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9768150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1694318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438202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8759280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82047477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1801320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30055723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13855503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6418852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71818570"/>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4875814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22936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16729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538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24026357"/>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2429984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3016418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83761270"/>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83731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082153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99761232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6135192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996804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0886512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23673457"/>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04703469"/>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05933697"/>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90465216"/>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5365728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8005835"/>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91554498"/>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4019858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6834485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641347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23683973"/>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810642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4577409"/>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87113799"/>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08393383"/>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44434519"/>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6272788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60057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62136358"/>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57048222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312391679"/>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896717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72006744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253211181"/>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6567695"/>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62883190"/>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9250155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387851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35048851"/>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2845467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5931300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56734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66703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1411899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59503369"/>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53504008"/>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13607238"/>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0497077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02899945"/>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19892003"/>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195587492"/>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0680912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41450265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237225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8505999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27058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21951860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899164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214985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70786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14337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930389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57126724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2127216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6890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87627476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75191127"/>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1392622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2337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32201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942961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1036125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02826331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8066441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230302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557608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43617771"/>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87916028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478036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437433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jpe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image" Target="../media/image1.jpeg"/><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theme" Target="../theme/theme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61" Type="http://schemas.openxmlformats.org/officeDocument/2006/relationships/slideLayout" Target="../slideLayouts/slideLayout123.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image" Target="../media/image1.jpe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61" Type="http://schemas.openxmlformats.org/officeDocument/2006/relationships/theme" Target="../theme/theme3.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slideLayout" Target="../slideLayouts/slideLayout18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4"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3889" r:id="rId27"/>
    <p:sldLayoutId id="2147483663" r:id="rId28"/>
    <p:sldLayoutId id="2147483667" r:id="rId29"/>
    <p:sldLayoutId id="2147483677" r:id="rId30"/>
    <p:sldLayoutId id="2147483678" r:id="rId31"/>
    <p:sldLayoutId id="2147483784" r:id="rId32"/>
    <p:sldLayoutId id="2147483785" r:id="rId33"/>
    <p:sldLayoutId id="2147483786" r:id="rId34"/>
    <p:sldLayoutId id="2147483787" r:id="rId35"/>
    <p:sldLayoutId id="2147483825" r:id="rId36"/>
    <p:sldLayoutId id="2147483826" r:id="rId37"/>
    <p:sldLayoutId id="2147483827" r:id="rId38"/>
    <p:sldLayoutId id="2147483828" r:id="rId39"/>
    <p:sldLayoutId id="2147483829" r:id="rId40"/>
    <p:sldLayoutId id="2147483830" r:id="rId41"/>
    <p:sldLayoutId id="2147483831" r:id="rId42"/>
    <p:sldLayoutId id="2147483832" r:id="rId43"/>
    <p:sldLayoutId id="2147483850" r:id="rId44"/>
    <p:sldLayoutId id="2147483851" r:id="rId45"/>
    <p:sldLayoutId id="2147483852" r:id="rId46"/>
    <p:sldLayoutId id="2147483853" r:id="rId47"/>
    <p:sldLayoutId id="2147483854" r:id="rId48"/>
    <p:sldLayoutId id="2147483855" r:id="rId49"/>
    <p:sldLayoutId id="2147483856" r:id="rId50"/>
    <p:sldLayoutId id="2147483857" r:id="rId51"/>
    <p:sldLayoutId id="2147483858" r:id="rId52"/>
    <p:sldLayoutId id="2147483860" r:id="rId53"/>
    <p:sldLayoutId id="2147483861" r:id="rId54"/>
    <p:sldLayoutId id="2147483908" r:id="rId55"/>
    <p:sldLayoutId id="2147483909" r:id="rId56"/>
    <p:sldLayoutId id="2147483910" r:id="rId57"/>
    <p:sldLayoutId id="2147483911" r:id="rId58"/>
    <p:sldLayoutId id="2147483912" r:id="rId59"/>
    <p:sldLayoutId id="2147483913" r:id="rId60"/>
    <p:sldLayoutId id="2147483914" r:id="rId61"/>
    <p:sldLayoutId id="2147483915" r:id="rId62"/>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3"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366459260"/>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 id="2147484160" r:id="rId23"/>
    <p:sldLayoutId id="2147484161" r:id="rId24"/>
    <p:sldLayoutId id="2147484162" r:id="rId25"/>
    <p:sldLayoutId id="2147484224"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2"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633097039"/>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 id="2147484186" r:id="rId23"/>
    <p:sldLayoutId id="2147484187" r:id="rId24"/>
    <p:sldLayoutId id="2147484188" r:id="rId25"/>
    <p:sldLayoutId id="2147484189" r:id="rId26"/>
    <p:sldLayoutId id="2147484190" r:id="rId27"/>
    <p:sldLayoutId id="2147484191" r:id="rId28"/>
    <p:sldLayoutId id="2147484192" r:id="rId29"/>
    <p:sldLayoutId id="2147484193" r:id="rId30"/>
    <p:sldLayoutId id="2147484194" r:id="rId31"/>
    <p:sldLayoutId id="2147484195" r:id="rId32"/>
    <p:sldLayoutId id="2147484196" r:id="rId33"/>
    <p:sldLayoutId id="2147484197" r:id="rId34"/>
    <p:sldLayoutId id="2147484198" r:id="rId35"/>
    <p:sldLayoutId id="2147484199" r:id="rId36"/>
    <p:sldLayoutId id="2147484200" r:id="rId37"/>
    <p:sldLayoutId id="2147484201" r:id="rId38"/>
    <p:sldLayoutId id="2147484202" r:id="rId39"/>
    <p:sldLayoutId id="2147484203" r:id="rId40"/>
    <p:sldLayoutId id="2147484204" r:id="rId41"/>
    <p:sldLayoutId id="2147484205" r:id="rId42"/>
    <p:sldLayoutId id="2147484206" r:id="rId43"/>
    <p:sldLayoutId id="2147484207" r:id="rId44"/>
    <p:sldLayoutId id="2147484208" r:id="rId45"/>
    <p:sldLayoutId id="2147484209" r:id="rId46"/>
    <p:sldLayoutId id="2147484210" r:id="rId47"/>
    <p:sldLayoutId id="2147484211" r:id="rId48"/>
    <p:sldLayoutId id="2147484212" r:id="rId49"/>
    <p:sldLayoutId id="2147484213" r:id="rId50"/>
    <p:sldLayoutId id="2147484214" r:id="rId51"/>
    <p:sldLayoutId id="2147484215" r:id="rId52"/>
    <p:sldLayoutId id="2147484216" r:id="rId53"/>
    <p:sldLayoutId id="2147484217" r:id="rId54"/>
    <p:sldLayoutId id="2147484218" r:id="rId55"/>
    <p:sldLayoutId id="2147484219" r:id="rId56"/>
    <p:sldLayoutId id="2147484220" r:id="rId57"/>
    <p:sldLayoutId id="2147484221" r:id="rId58"/>
    <p:sldLayoutId id="2147484222" r:id="rId59"/>
    <p:sldLayoutId id="2147484223" r:id="rId60"/>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67.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88.xml"/><Relationship Id="rId5" Type="http://schemas.openxmlformats.org/officeDocument/2006/relationships/chart" Target="../charts/chart4.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xml"/><Relationship Id="rId1" Type="http://schemas.openxmlformats.org/officeDocument/2006/relationships/slideLayout" Target="../slideLayouts/slideLayout88.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2.xml"/></Relationships>
</file>

<file path=ppt/slides/_rels/slide9.xml.rels><?xml version="1.0" encoding="UTF-8" standalone="yes"?>
<Relationships xmlns="http://schemas.openxmlformats.org/package/2006/relationships"><Relationship Id="rId117" Type="http://schemas.openxmlformats.org/officeDocument/2006/relationships/tags" Target="../tags/tag119.xml"/><Relationship Id="rId299" Type="http://schemas.openxmlformats.org/officeDocument/2006/relationships/tags" Target="../tags/tag301.xml"/><Relationship Id="rId303" Type="http://schemas.openxmlformats.org/officeDocument/2006/relationships/tags" Target="../tags/tag305.xml"/><Relationship Id="rId21" Type="http://schemas.openxmlformats.org/officeDocument/2006/relationships/tags" Target="../tags/tag23.xml"/><Relationship Id="rId42" Type="http://schemas.openxmlformats.org/officeDocument/2006/relationships/tags" Target="../tags/tag44.xml"/><Relationship Id="rId63" Type="http://schemas.openxmlformats.org/officeDocument/2006/relationships/tags" Target="../tags/tag65.xml"/><Relationship Id="rId84" Type="http://schemas.openxmlformats.org/officeDocument/2006/relationships/tags" Target="../tags/tag86.xml"/><Relationship Id="rId138" Type="http://schemas.openxmlformats.org/officeDocument/2006/relationships/tags" Target="../tags/tag140.xml"/><Relationship Id="rId159" Type="http://schemas.openxmlformats.org/officeDocument/2006/relationships/tags" Target="../tags/tag161.xml"/><Relationship Id="rId324" Type="http://schemas.openxmlformats.org/officeDocument/2006/relationships/tags" Target="../tags/tag326.xml"/><Relationship Id="rId345" Type="http://schemas.openxmlformats.org/officeDocument/2006/relationships/tags" Target="../tags/tag347.xml"/><Relationship Id="rId366" Type="http://schemas.openxmlformats.org/officeDocument/2006/relationships/tags" Target="../tags/tag368.xml"/><Relationship Id="rId170" Type="http://schemas.openxmlformats.org/officeDocument/2006/relationships/tags" Target="../tags/tag172.xml"/><Relationship Id="rId191" Type="http://schemas.openxmlformats.org/officeDocument/2006/relationships/tags" Target="../tags/tag193.xml"/><Relationship Id="rId205" Type="http://schemas.openxmlformats.org/officeDocument/2006/relationships/tags" Target="../tags/tag207.xml"/><Relationship Id="rId226" Type="http://schemas.openxmlformats.org/officeDocument/2006/relationships/tags" Target="../tags/tag228.xml"/><Relationship Id="rId247" Type="http://schemas.openxmlformats.org/officeDocument/2006/relationships/tags" Target="../tags/tag249.xml"/><Relationship Id="rId107" Type="http://schemas.openxmlformats.org/officeDocument/2006/relationships/tags" Target="../tags/tag109.xml"/><Relationship Id="rId268" Type="http://schemas.openxmlformats.org/officeDocument/2006/relationships/tags" Target="../tags/tag270.xml"/><Relationship Id="rId289" Type="http://schemas.openxmlformats.org/officeDocument/2006/relationships/tags" Target="../tags/tag291.xml"/><Relationship Id="rId11" Type="http://schemas.openxmlformats.org/officeDocument/2006/relationships/tags" Target="../tags/tag13.xml"/><Relationship Id="rId32" Type="http://schemas.openxmlformats.org/officeDocument/2006/relationships/tags" Target="../tags/tag34.xml"/><Relationship Id="rId53" Type="http://schemas.openxmlformats.org/officeDocument/2006/relationships/tags" Target="../tags/tag55.xml"/><Relationship Id="rId74" Type="http://schemas.openxmlformats.org/officeDocument/2006/relationships/tags" Target="../tags/tag76.xml"/><Relationship Id="rId128" Type="http://schemas.openxmlformats.org/officeDocument/2006/relationships/tags" Target="../tags/tag130.xml"/><Relationship Id="rId149" Type="http://schemas.openxmlformats.org/officeDocument/2006/relationships/tags" Target="../tags/tag151.xml"/><Relationship Id="rId314" Type="http://schemas.openxmlformats.org/officeDocument/2006/relationships/tags" Target="../tags/tag316.xml"/><Relationship Id="rId335" Type="http://schemas.openxmlformats.org/officeDocument/2006/relationships/tags" Target="../tags/tag337.xml"/><Relationship Id="rId356" Type="http://schemas.openxmlformats.org/officeDocument/2006/relationships/tags" Target="../tags/tag358.xml"/><Relationship Id="rId377" Type="http://schemas.openxmlformats.org/officeDocument/2006/relationships/tags" Target="../tags/tag379.xml"/><Relationship Id="rId5" Type="http://schemas.openxmlformats.org/officeDocument/2006/relationships/tags" Target="../tags/tag7.xml"/><Relationship Id="rId95" Type="http://schemas.openxmlformats.org/officeDocument/2006/relationships/tags" Target="../tags/tag97.xml"/><Relationship Id="rId160" Type="http://schemas.openxmlformats.org/officeDocument/2006/relationships/tags" Target="../tags/tag162.xml"/><Relationship Id="rId181" Type="http://schemas.openxmlformats.org/officeDocument/2006/relationships/tags" Target="../tags/tag183.xml"/><Relationship Id="rId216" Type="http://schemas.openxmlformats.org/officeDocument/2006/relationships/tags" Target="../tags/tag218.xml"/><Relationship Id="rId237" Type="http://schemas.openxmlformats.org/officeDocument/2006/relationships/tags" Target="../tags/tag239.xml"/><Relationship Id="rId258" Type="http://schemas.openxmlformats.org/officeDocument/2006/relationships/tags" Target="../tags/tag260.xml"/><Relationship Id="rId279" Type="http://schemas.openxmlformats.org/officeDocument/2006/relationships/tags" Target="../tags/tag281.xml"/><Relationship Id="rId22" Type="http://schemas.openxmlformats.org/officeDocument/2006/relationships/tags" Target="../tags/tag24.xml"/><Relationship Id="rId43" Type="http://schemas.openxmlformats.org/officeDocument/2006/relationships/tags" Target="../tags/tag45.xml"/><Relationship Id="rId64" Type="http://schemas.openxmlformats.org/officeDocument/2006/relationships/tags" Target="../tags/tag66.xml"/><Relationship Id="rId118" Type="http://schemas.openxmlformats.org/officeDocument/2006/relationships/tags" Target="../tags/tag120.xml"/><Relationship Id="rId139" Type="http://schemas.openxmlformats.org/officeDocument/2006/relationships/tags" Target="../tags/tag141.xml"/><Relationship Id="rId290" Type="http://schemas.openxmlformats.org/officeDocument/2006/relationships/tags" Target="../tags/tag292.xml"/><Relationship Id="rId304" Type="http://schemas.openxmlformats.org/officeDocument/2006/relationships/tags" Target="../tags/tag306.xml"/><Relationship Id="rId325" Type="http://schemas.openxmlformats.org/officeDocument/2006/relationships/tags" Target="../tags/tag327.xml"/><Relationship Id="rId346" Type="http://schemas.openxmlformats.org/officeDocument/2006/relationships/tags" Target="../tags/tag348.xml"/><Relationship Id="rId367" Type="http://schemas.openxmlformats.org/officeDocument/2006/relationships/tags" Target="../tags/tag369.xml"/><Relationship Id="rId85" Type="http://schemas.openxmlformats.org/officeDocument/2006/relationships/tags" Target="../tags/tag87.xml"/><Relationship Id="rId150" Type="http://schemas.openxmlformats.org/officeDocument/2006/relationships/tags" Target="../tags/tag152.xml"/><Relationship Id="rId171" Type="http://schemas.openxmlformats.org/officeDocument/2006/relationships/tags" Target="../tags/tag173.xml"/><Relationship Id="rId192" Type="http://schemas.openxmlformats.org/officeDocument/2006/relationships/tags" Target="../tags/tag194.xml"/><Relationship Id="rId206" Type="http://schemas.openxmlformats.org/officeDocument/2006/relationships/tags" Target="../tags/tag208.xml"/><Relationship Id="rId227" Type="http://schemas.openxmlformats.org/officeDocument/2006/relationships/tags" Target="../tags/tag229.xml"/><Relationship Id="rId248" Type="http://schemas.openxmlformats.org/officeDocument/2006/relationships/tags" Target="../tags/tag250.xml"/><Relationship Id="rId269" Type="http://schemas.openxmlformats.org/officeDocument/2006/relationships/tags" Target="../tags/tag271.xml"/><Relationship Id="rId12" Type="http://schemas.openxmlformats.org/officeDocument/2006/relationships/tags" Target="../tags/tag14.xml"/><Relationship Id="rId33" Type="http://schemas.openxmlformats.org/officeDocument/2006/relationships/tags" Target="../tags/tag35.xml"/><Relationship Id="rId108" Type="http://schemas.openxmlformats.org/officeDocument/2006/relationships/tags" Target="../tags/tag110.xml"/><Relationship Id="rId129" Type="http://schemas.openxmlformats.org/officeDocument/2006/relationships/tags" Target="../tags/tag131.xml"/><Relationship Id="rId280" Type="http://schemas.openxmlformats.org/officeDocument/2006/relationships/tags" Target="../tags/tag282.xml"/><Relationship Id="rId315" Type="http://schemas.openxmlformats.org/officeDocument/2006/relationships/tags" Target="../tags/tag317.xml"/><Relationship Id="rId336" Type="http://schemas.openxmlformats.org/officeDocument/2006/relationships/tags" Target="../tags/tag338.xml"/><Relationship Id="rId357" Type="http://schemas.openxmlformats.org/officeDocument/2006/relationships/tags" Target="../tags/tag359.xml"/><Relationship Id="rId54" Type="http://schemas.openxmlformats.org/officeDocument/2006/relationships/tags" Target="../tags/tag56.xml"/><Relationship Id="rId75" Type="http://schemas.openxmlformats.org/officeDocument/2006/relationships/tags" Target="../tags/tag77.xml"/><Relationship Id="rId96" Type="http://schemas.openxmlformats.org/officeDocument/2006/relationships/tags" Target="../tags/tag98.xml"/><Relationship Id="rId140" Type="http://schemas.openxmlformats.org/officeDocument/2006/relationships/tags" Target="../tags/tag142.xml"/><Relationship Id="rId161" Type="http://schemas.openxmlformats.org/officeDocument/2006/relationships/tags" Target="../tags/tag163.xml"/><Relationship Id="rId182" Type="http://schemas.openxmlformats.org/officeDocument/2006/relationships/tags" Target="../tags/tag184.xml"/><Relationship Id="rId217" Type="http://schemas.openxmlformats.org/officeDocument/2006/relationships/tags" Target="../tags/tag219.xml"/><Relationship Id="rId378" Type="http://schemas.openxmlformats.org/officeDocument/2006/relationships/tags" Target="../tags/tag380.xml"/><Relationship Id="rId6" Type="http://schemas.openxmlformats.org/officeDocument/2006/relationships/tags" Target="../tags/tag8.xml"/><Relationship Id="rId238" Type="http://schemas.openxmlformats.org/officeDocument/2006/relationships/tags" Target="../tags/tag240.xml"/><Relationship Id="rId259" Type="http://schemas.openxmlformats.org/officeDocument/2006/relationships/tags" Target="../tags/tag261.xml"/><Relationship Id="rId23" Type="http://schemas.openxmlformats.org/officeDocument/2006/relationships/tags" Target="../tags/tag25.xml"/><Relationship Id="rId119" Type="http://schemas.openxmlformats.org/officeDocument/2006/relationships/tags" Target="../tags/tag121.xml"/><Relationship Id="rId270" Type="http://schemas.openxmlformats.org/officeDocument/2006/relationships/tags" Target="../tags/tag272.xml"/><Relationship Id="rId291" Type="http://schemas.openxmlformats.org/officeDocument/2006/relationships/tags" Target="../tags/tag293.xml"/><Relationship Id="rId305" Type="http://schemas.openxmlformats.org/officeDocument/2006/relationships/tags" Target="../tags/tag307.xml"/><Relationship Id="rId326" Type="http://schemas.openxmlformats.org/officeDocument/2006/relationships/tags" Target="../tags/tag328.xml"/><Relationship Id="rId347" Type="http://schemas.openxmlformats.org/officeDocument/2006/relationships/tags" Target="../tags/tag349.xml"/><Relationship Id="rId44" Type="http://schemas.openxmlformats.org/officeDocument/2006/relationships/tags" Target="../tags/tag46.xml"/><Relationship Id="rId65" Type="http://schemas.openxmlformats.org/officeDocument/2006/relationships/tags" Target="../tags/tag67.xml"/><Relationship Id="rId86" Type="http://schemas.openxmlformats.org/officeDocument/2006/relationships/tags" Target="../tags/tag88.xml"/><Relationship Id="rId130" Type="http://schemas.openxmlformats.org/officeDocument/2006/relationships/tags" Target="../tags/tag132.xml"/><Relationship Id="rId151" Type="http://schemas.openxmlformats.org/officeDocument/2006/relationships/tags" Target="../tags/tag153.xml"/><Relationship Id="rId368" Type="http://schemas.openxmlformats.org/officeDocument/2006/relationships/tags" Target="../tags/tag370.xml"/><Relationship Id="rId172" Type="http://schemas.openxmlformats.org/officeDocument/2006/relationships/tags" Target="../tags/tag174.xml"/><Relationship Id="rId193" Type="http://schemas.openxmlformats.org/officeDocument/2006/relationships/tags" Target="../tags/tag195.xml"/><Relationship Id="rId207" Type="http://schemas.openxmlformats.org/officeDocument/2006/relationships/tags" Target="../tags/tag209.xml"/><Relationship Id="rId228" Type="http://schemas.openxmlformats.org/officeDocument/2006/relationships/tags" Target="../tags/tag230.xml"/><Relationship Id="rId249" Type="http://schemas.openxmlformats.org/officeDocument/2006/relationships/tags" Target="../tags/tag251.xml"/><Relationship Id="rId13" Type="http://schemas.openxmlformats.org/officeDocument/2006/relationships/tags" Target="../tags/tag15.xml"/><Relationship Id="rId109" Type="http://schemas.openxmlformats.org/officeDocument/2006/relationships/tags" Target="../tags/tag111.xml"/><Relationship Id="rId260" Type="http://schemas.openxmlformats.org/officeDocument/2006/relationships/tags" Target="../tags/tag262.xml"/><Relationship Id="rId281" Type="http://schemas.openxmlformats.org/officeDocument/2006/relationships/tags" Target="../tags/tag283.xml"/><Relationship Id="rId316" Type="http://schemas.openxmlformats.org/officeDocument/2006/relationships/tags" Target="../tags/tag318.xml"/><Relationship Id="rId337" Type="http://schemas.openxmlformats.org/officeDocument/2006/relationships/tags" Target="../tags/tag339.xml"/><Relationship Id="rId34" Type="http://schemas.openxmlformats.org/officeDocument/2006/relationships/tags" Target="../tags/tag36.xml"/><Relationship Id="rId55" Type="http://schemas.openxmlformats.org/officeDocument/2006/relationships/tags" Target="../tags/tag57.xml"/><Relationship Id="rId76" Type="http://schemas.openxmlformats.org/officeDocument/2006/relationships/tags" Target="../tags/tag78.xml"/><Relationship Id="rId97" Type="http://schemas.openxmlformats.org/officeDocument/2006/relationships/tags" Target="../tags/tag99.xml"/><Relationship Id="rId120" Type="http://schemas.openxmlformats.org/officeDocument/2006/relationships/tags" Target="../tags/tag122.xml"/><Relationship Id="rId141" Type="http://schemas.openxmlformats.org/officeDocument/2006/relationships/tags" Target="../tags/tag143.xml"/><Relationship Id="rId358" Type="http://schemas.openxmlformats.org/officeDocument/2006/relationships/tags" Target="../tags/tag360.xml"/><Relationship Id="rId379" Type="http://schemas.openxmlformats.org/officeDocument/2006/relationships/tags" Target="../tags/tag381.xml"/><Relationship Id="rId7" Type="http://schemas.openxmlformats.org/officeDocument/2006/relationships/tags" Target="../tags/tag9.xml"/><Relationship Id="rId162" Type="http://schemas.openxmlformats.org/officeDocument/2006/relationships/tags" Target="../tags/tag164.xml"/><Relationship Id="rId183" Type="http://schemas.openxmlformats.org/officeDocument/2006/relationships/tags" Target="../tags/tag185.xml"/><Relationship Id="rId218" Type="http://schemas.openxmlformats.org/officeDocument/2006/relationships/tags" Target="../tags/tag220.xml"/><Relationship Id="rId239" Type="http://schemas.openxmlformats.org/officeDocument/2006/relationships/tags" Target="../tags/tag241.xml"/><Relationship Id="rId250" Type="http://schemas.openxmlformats.org/officeDocument/2006/relationships/tags" Target="../tags/tag252.xml"/><Relationship Id="rId271" Type="http://schemas.openxmlformats.org/officeDocument/2006/relationships/tags" Target="../tags/tag273.xml"/><Relationship Id="rId292" Type="http://schemas.openxmlformats.org/officeDocument/2006/relationships/tags" Target="../tags/tag294.xml"/><Relationship Id="rId306" Type="http://schemas.openxmlformats.org/officeDocument/2006/relationships/tags" Target="../tags/tag308.xml"/><Relationship Id="rId24" Type="http://schemas.openxmlformats.org/officeDocument/2006/relationships/tags" Target="../tags/tag26.xml"/><Relationship Id="rId45" Type="http://schemas.openxmlformats.org/officeDocument/2006/relationships/tags" Target="../tags/tag47.xml"/><Relationship Id="rId66" Type="http://schemas.openxmlformats.org/officeDocument/2006/relationships/tags" Target="../tags/tag68.xml"/><Relationship Id="rId87" Type="http://schemas.openxmlformats.org/officeDocument/2006/relationships/tags" Target="../tags/tag89.xml"/><Relationship Id="rId110" Type="http://schemas.openxmlformats.org/officeDocument/2006/relationships/tags" Target="../tags/tag112.xml"/><Relationship Id="rId131" Type="http://schemas.openxmlformats.org/officeDocument/2006/relationships/tags" Target="../tags/tag133.xml"/><Relationship Id="rId327" Type="http://schemas.openxmlformats.org/officeDocument/2006/relationships/tags" Target="../tags/tag329.xml"/><Relationship Id="rId348" Type="http://schemas.openxmlformats.org/officeDocument/2006/relationships/tags" Target="../tags/tag350.xml"/><Relationship Id="rId369" Type="http://schemas.openxmlformats.org/officeDocument/2006/relationships/tags" Target="../tags/tag371.xml"/><Relationship Id="rId152" Type="http://schemas.openxmlformats.org/officeDocument/2006/relationships/tags" Target="../tags/tag154.xml"/><Relationship Id="rId173" Type="http://schemas.openxmlformats.org/officeDocument/2006/relationships/tags" Target="../tags/tag175.xml"/><Relationship Id="rId194" Type="http://schemas.openxmlformats.org/officeDocument/2006/relationships/tags" Target="../tags/tag196.xml"/><Relationship Id="rId208" Type="http://schemas.openxmlformats.org/officeDocument/2006/relationships/tags" Target="../tags/tag210.xml"/><Relationship Id="rId229" Type="http://schemas.openxmlformats.org/officeDocument/2006/relationships/tags" Target="../tags/tag231.xml"/><Relationship Id="rId380" Type="http://schemas.openxmlformats.org/officeDocument/2006/relationships/tags" Target="../tags/tag382.xml"/><Relationship Id="rId240" Type="http://schemas.openxmlformats.org/officeDocument/2006/relationships/tags" Target="../tags/tag242.xml"/><Relationship Id="rId261" Type="http://schemas.openxmlformats.org/officeDocument/2006/relationships/tags" Target="../tags/tag263.xml"/><Relationship Id="rId14" Type="http://schemas.openxmlformats.org/officeDocument/2006/relationships/tags" Target="../tags/tag16.xml"/><Relationship Id="rId35" Type="http://schemas.openxmlformats.org/officeDocument/2006/relationships/tags" Target="../tags/tag37.xml"/><Relationship Id="rId56" Type="http://schemas.openxmlformats.org/officeDocument/2006/relationships/tags" Target="../tags/tag58.xml"/><Relationship Id="rId77" Type="http://schemas.openxmlformats.org/officeDocument/2006/relationships/tags" Target="../tags/tag79.xml"/><Relationship Id="rId100" Type="http://schemas.openxmlformats.org/officeDocument/2006/relationships/tags" Target="../tags/tag102.xml"/><Relationship Id="rId282" Type="http://schemas.openxmlformats.org/officeDocument/2006/relationships/tags" Target="../tags/tag284.xml"/><Relationship Id="rId317" Type="http://schemas.openxmlformats.org/officeDocument/2006/relationships/tags" Target="../tags/tag319.xml"/><Relationship Id="rId338" Type="http://schemas.openxmlformats.org/officeDocument/2006/relationships/tags" Target="../tags/tag340.xml"/><Relationship Id="rId359" Type="http://schemas.openxmlformats.org/officeDocument/2006/relationships/tags" Target="../tags/tag361.xml"/><Relationship Id="rId8" Type="http://schemas.openxmlformats.org/officeDocument/2006/relationships/tags" Target="../tags/tag10.xml"/><Relationship Id="rId98" Type="http://schemas.openxmlformats.org/officeDocument/2006/relationships/tags" Target="../tags/tag100.xml"/><Relationship Id="rId121" Type="http://schemas.openxmlformats.org/officeDocument/2006/relationships/tags" Target="../tags/tag123.xml"/><Relationship Id="rId142" Type="http://schemas.openxmlformats.org/officeDocument/2006/relationships/tags" Target="../tags/tag144.xml"/><Relationship Id="rId163" Type="http://schemas.openxmlformats.org/officeDocument/2006/relationships/tags" Target="../tags/tag165.xml"/><Relationship Id="rId184" Type="http://schemas.openxmlformats.org/officeDocument/2006/relationships/tags" Target="../tags/tag186.xml"/><Relationship Id="rId219" Type="http://schemas.openxmlformats.org/officeDocument/2006/relationships/tags" Target="../tags/tag221.xml"/><Relationship Id="rId370" Type="http://schemas.openxmlformats.org/officeDocument/2006/relationships/tags" Target="../tags/tag372.xml"/><Relationship Id="rId230" Type="http://schemas.openxmlformats.org/officeDocument/2006/relationships/tags" Target="../tags/tag232.xml"/><Relationship Id="rId251" Type="http://schemas.openxmlformats.org/officeDocument/2006/relationships/tags" Target="../tags/tag253.xml"/><Relationship Id="rId25" Type="http://schemas.openxmlformats.org/officeDocument/2006/relationships/tags" Target="../tags/tag27.xml"/><Relationship Id="rId46" Type="http://schemas.openxmlformats.org/officeDocument/2006/relationships/tags" Target="../tags/tag48.xml"/><Relationship Id="rId67" Type="http://schemas.openxmlformats.org/officeDocument/2006/relationships/tags" Target="../tags/tag69.xml"/><Relationship Id="rId272" Type="http://schemas.openxmlformats.org/officeDocument/2006/relationships/tags" Target="../tags/tag274.xml"/><Relationship Id="rId293" Type="http://schemas.openxmlformats.org/officeDocument/2006/relationships/tags" Target="../tags/tag295.xml"/><Relationship Id="rId307" Type="http://schemas.openxmlformats.org/officeDocument/2006/relationships/tags" Target="../tags/tag309.xml"/><Relationship Id="rId328" Type="http://schemas.openxmlformats.org/officeDocument/2006/relationships/tags" Target="../tags/tag330.xml"/><Relationship Id="rId349" Type="http://schemas.openxmlformats.org/officeDocument/2006/relationships/tags" Target="../tags/tag351.xml"/><Relationship Id="rId88" Type="http://schemas.openxmlformats.org/officeDocument/2006/relationships/tags" Target="../tags/tag90.xml"/><Relationship Id="rId111" Type="http://schemas.openxmlformats.org/officeDocument/2006/relationships/tags" Target="../tags/tag113.xml"/><Relationship Id="rId132" Type="http://schemas.openxmlformats.org/officeDocument/2006/relationships/tags" Target="../tags/tag134.xml"/><Relationship Id="rId153" Type="http://schemas.openxmlformats.org/officeDocument/2006/relationships/tags" Target="../tags/tag155.xml"/><Relationship Id="rId174" Type="http://schemas.openxmlformats.org/officeDocument/2006/relationships/tags" Target="../tags/tag176.xml"/><Relationship Id="rId195" Type="http://schemas.openxmlformats.org/officeDocument/2006/relationships/tags" Target="../tags/tag197.xml"/><Relationship Id="rId209" Type="http://schemas.openxmlformats.org/officeDocument/2006/relationships/tags" Target="../tags/tag211.xml"/><Relationship Id="rId360" Type="http://schemas.openxmlformats.org/officeDocument/2006/relationships/tags" Target="../tags/tag362.xml"/><Relationship Id="rId381" Type="http://schemas.openxmlformats.org/officeDocument/2006/relationships/tags" Target="../tags/tag383.xml"/><Relationship Id="rId220" Type="http://schemas.openxmlformats.org/officeDocument/2006/relationships/tags" Target="../tags/tag222.xml"/><Relationship Id="rId241" Type="http://schemas.openxmlformats.org/officeDocument/2006/relationships/tags" Target="../tags/tag243.xml"/><Relationship Id="rId15" Type="http://schemas.openxmlformats.org/officeDocument/2006/relationships/tags" Target="../tags/tag17.xml"/><Relationship Id="rId36" Type="http://schemas.openxmlformats.org/officeDocument/2006/relationships/tags" Target="../tags/tag38.xml"/><Relationship Id="rId57" Type="http://schemas.openxmlformats.org/officeDocument/2006/relationships/tags" Target="../tags/tag59.xml"/><Relationship Id="rId262" Type="http://schemas.openxmlformats.org/officeDocument/2006/relationships/tags" Target="../tags/tag264.xml"/><Relationship Id="rId283" Type="http://schemas.openxmlformats.org/officeDocument/2006/relationships/tags" Target="../tags/tag285.xml"/><Relationship Id="rId318" Type="http://schemas.openxmlformats.org/officeDocument/2006/relationships/tags" Target="../tags/tag320.xml"/><Relationship Id="rId339" Type="http://schemas.openxmlformats.org/officeDocument/2006/relationships/tags" Target="../tags/tag341.xml"/><Relationship Id="rId78" Type="http://schemas.openxmlformats.org/officeDocument/2006/relationships/tags" Target="../tags/tag80.xml"/><Relationship Id="rId99" Type="http://schemas.openxmlformats.org/officeDocument/2006/relationships/tags" Target="../tags/tag101.xml"/><Relationship Id="rId101" Type="http://schemas.openxmlformats.org/officeDocument/2006/relationships/tags" Target="../tags/tag103.xml"/><Relationship Id="rId122" Type="http://schemas.openxmlformats.org/officeDocument/2006/relationships/tags" Target="../tags/tag124.xml"/><Relationship Id="rId143" Type="http://schemas.openxmlformats.org/officeDocument/2006/relationships/tags" Target="../tags/tag145.xml"/><Relationship Id="rId164" Type="http://schemas.openxmlformats.org/officeDocument/2006/relationships/tags" Target="../tags/tag166.xml"/><Relationship Id="rId185" Type="http://schemas.openxmlformats.org/officeDocument/2006/relationships/tags" Target="../tags/tag187.xml"/><Relationship Id="rId350" Type="http://schemas.openxmlformats.org/officeDocument/2006/relationships/tags" Target="../tags/tag352.xml"/><Relationship Id="rId371" Type="http://schemas.openxmlformats.org/officeDocument/2006/relationships/tags" Target="../tags/tag373.xml"/><Relationship Id="rId9" Type="http://schemas.openxmlformats.org/officeDocument/2006/relationships/tags" Target="../tags/tag11.xml"/><Relationship Id="rId210" Type="http://schemas.openxmlformats.org/officeDocument/2006/relationships/tags" Target="../tags/tag212.xml"/><Relationship Id="rId26" Type="http://schemas.openxmlformats.org/officeDocument/2006/relationships/tags" Target="../tags/tag28.xml"/><Relationship Id="rId231" Type="http://schemas.openxmlformats.org/officeDocument/2006/relationships/tags" Target="../tags/tag233.xml"/><Relationship Id="rId252" Type="http://schemas.openxmlformats.org/officeDocument/2006/relationships/tags" Target="../tags/tag254.xml"/><Relationship Id="rId273" Type="http://schemas.openxmlformats.org/officeDocument/2006/relationships/tags" Target="../tags/tag275.xml"/><Relationship Id="rId294" Type="http://schemas.openxmlformats.org/officeDocument/2006/relationships/tags" Target="../tags/tag296.xml"/><Relationship Id="rId308" Type="http://schemas.openxmlformats.org/officeDocument/2006/relationships/tags" Target="../tags/tag310.xml"/><Relationship Id="rId329" Type="http://schemas.openxmlformats.org/officeDocument/2006/relationships/tags" Target="../tags/tag331.xml"/><Relationship Id="rId47" Type="http://schemas.openxmlformats.org/officeDocument/2006/relationships/tags" Target="../tags/tag49.xml"/><Relationship Id="rId68" Type="http://schemas.openxmlformats.org/officeDocument/2006/relationships/tags" Target="../tags/tag70.xml"/><Relationship Id="rId89" Type="http://schemas.openxmlformats.org/officeDocument/2006/relationships/tags" Target="../tags/tag91.xml"/><Relationship Id="rId112" Type="http://schemas.openxmlformats.org/officeDocument/2006/relationships/tags" Target="../tags/tag114.xml"/><Relationship Id="rId133" Type="http://schemas.openxmlformats.org/officeDocument/2006/relationships/tags" Target="../tags/tag135.xml"/><Relationship Id="rId154" Type="http://schemas.openxmlformats.org/officeDocument/2006/relationships/tags" Target="../tags/tag156.xml"/><Relationship Id="rId175" Type="http://schemas.openxmlformats.org/officeDocument/2006/relationships/tags" Target="../tags/tag177.xml"/><Relationship Id="rId340" Type="http://schemas.openxmlformats.org/officeDocument/2006/relationships/tags" Target="../tags/tag342.xml"/><Relationship Id="rId361" Type="http://schemas.openxmlformats.org/officeDocument/2006/relationships/tags" Target="../tags/tag363.xml"/><Relationship Id="rId196" Type="http://schemas.openxmlformats.org/officeDocument/2006/relationships/tags" Target="../tags/tag198.xml"/><Relationship Id="rId200" Type="http://schemas.openxmlformats.org/officeDocument/2006/relationships/tags" Target="../tags/tag202.xml"/><Relationship Id="rId382" Type="http://schemas.openxmlformats.org/officeDocument/2006/relationships/slideLayout" Target="../slideLayouts/slideLayout67.xml"/><Relationship Id="rId16" Type="http://schemas.openxmlformats.org/officeDocument/2006/relationships/tags" Target="../tags/tag18.xml"/><Relationship Id="rId221" Type="http://schemas.openxmlformats.org/officeDocument/2006/relationships/tags" Target="../tags/tag223.xml"/><Relationship Id="rId242" Type="http://schemas.openxmlformats.org/officeDocument/2006/relationships/tags" Target="../tags/tag244.xml"/><Relationship Id="rId263" Type="http://schemas.openxmlformats.org/officeDocument/2006/relationships/tags" Target="../tags/tag265.xml"/><Relationship Id="rId284" Type="http://schemas.openxmlformats.org/officeDocument/2006/relationships/tags" Target="../tags/tag286.xml"/><Relationship Id="rId319" Type="http://schemas.openxmlformats.org/officeDocument/2006/relationships/tags" Target="../tags/tag321.xml"/><Relationship Id="rId37" Type="http://schemas.openxmlformats.org/officeDocument/2006/relationships/tags" Target="../tags/tag39.xml"/><Relationship Id="rId58" Type="http://schemas.openxmlformats.org/officeDocument/2006/relationships/tags" Target="../tags/tag60.xml"/><Relationship Id="rId79" Type="http://schemas.openxmlformats.org/officeDocument/2006/relationships/tags" Target="../tags/tag81.xml"/><Relationship Id="rId102" Type="http://schemas.openxmlformats.org/officeDocument/2006/relationships/tags" Target="../tags/tag104.xml"/><Relationship Id="rId123" Type="http://schemas.openxmlformats.org/officeDocument/2006/relationships/tags" Target="../tags/tag125.xml"/><Relationship Id="rId144" Type="http://schemas.openxmlformats.org/officeDocument/2006/relationships/tags" Target="../tags/tag146.xml"/><Relationship Id="rId330" Type="http://schemas.openxmlformats.org/officeDocument/2006/relationships/tags" Target="../tags/tag332.xml"/><Relationship Id="rId90" Type="http://schemas.openxmlformats.org/officeDocument/2006/relationships/tags" Target="../tags/tag92.xml"/><Relationship Id="rId165" Type="http://schemas.openxmlformats.org/officeDocument/2006/relationships/tags" Target="../tags/tag167.xml"/><Relationship Id="rId186" Type="http://schemas.openxmlformats.org/officeDocument/2006/relationships/tags" Target="../tags/tag188.xml"/><Relationship Id="rId351" Type="http://schemas.openxmlformats.org/officeDocument/2006/relationships/tags" Target="../tags/tag353.xml"/><Relationship Id="rId372" Type="http://schemas.openxmlformats.org/officeDocument/2006/relationships/tags" Target="../tags/tag374.xml"/><Relationship Id="rId211" Type="http://schemas.openxmlformats.org/officeDocument/2006/relationships/tags" Target="../tags/tag213.xml"/><Relationship Id="rId232" Type="http://schemas.openxmlformats.org/officeDocument/2006/relationships/tags" Target="../tags/tag234.xml"/><Relationship Id="rId253" Type="http://schemas.openxmlformats.org/officeDocument/2006/relationships/tags" Target="../tags/tag255.xml"/><Relationship Id="rId274" Type="http://schemas.openxmlformats.org/officeDocument/2006/relationships/tags" Target="../tags/tag276.xml"/><Relationship Id="rId295" Type="http://schemas.openxmlformats.org/officeDocument/2006/relationships/tags" Target="../tags/tag297.xml"/><Relationship Id="rId309" Type="http://schemas.openxmlformats.org/officeDocument/2006/relationships/tags" Target="../tags/tag311.xml"/><Relationship Id="rId27" Type="http://schemas.openxmlformats.org/officeDocument/2006/relationships/tags" Target="../tags/tag29.xml"/><Relationship Id="rId48" Type="http://schemas.openxmlformats.org/officeDocument/2006/relationships/tags" Target="../tags/tag50.xml"/><Relationship Id="rId69" Type="http://schemas.openxmlformats.org/officeDocument/2006/relationships/tags" Target="../tags/tag71.xml"/><Relationship Id="rId113" Type="http://schemas.openxmlformats.org/officeDocument/2006/relationships/tags" Target="../tags/tag115.xml"/><Relationship Id="rId134" Type="http://schemas.openxmlformats.org/officeDocument/2006/relationships/tags" Target="../tags/tag136.xml"/><Relationship Id="rId320" Type="http://schemas.openxmlformats.org/officeDocument/2006/relationships/tags" Target="../tags/tag322.xml"/><Relationship Id="rId80" Type="http://schemas.openxmlformats.org/officeDocument/2006/relationships/tags" Target="../tags/tag82.xml"/><Relationship Id="rId155" Type="http://schemas.openxmlformats.org/officeDocument/2006/relationships/tags" Target="../tags/tag157.xml"/><Relationship Id="rId176" Type="http://schemas.openxmlformats.org/officeDocument/2006/relationships/tags" Target="../tags/tag178.xml"/><Relationship Id="rId197" Type="http://schemas.openxmlformats.org/officeDocument/2006/relationships/tags" Target="../tags/tag199.xml"/><Relationship Id="rId341" Type="http://schemas.openxmlformats.org/officeDocument/2006/relationships/tags" Target="../tags/tag343.xml"/><Relationship Id="rId362" Type="http://schemas.openxmlformats.org/officeDocument/2006/relationships/tags" Target="../tags/tag364.xml"/><Relationship Id="rId383" Type="http://schemas.openxmlformats.org/officeDocument/2006/relationships/notesSlide" Target="../notesSlides/notesSlide4.xml"/><Relationship Id="rId201" Type="http://schemas.openxmlformats.org/officeDocument/2006/relationships/tags" Target="../tags/tag203.xml"/><Relationship Id="rId222" Type="http://schemas.openxmlformats.org/officeDocument/2006/relationships/tags" Target="../tags/tag224.xml"/><Relationship Id="rId243" Type="http://schemas.openxmlformats.org/officeDocument/2006/relationships/tags" Target="../tags/tag245.xml"/><Relationship Id="rId264" Type="http://schemas.openxmlformats.org/officeDocument/2006/relationships/tags" Target="../tags/tag266.xml"/><Relationship Id="rId285" Type="http://schemas.openxmlformats.org/officeDocument/2006/relationships/tags" Target="../tags/tag287.xml"/><Relationship Id="rId17" Type="http://schemas.openxmlformats.org/officeDocument/2006/relationships/tags" Target="../tags/tag19.xml"/><Relationship Id="rId38" Type="http://schemas.openxmlformats.org/officeDocument/2006/relationships/tags" Target="../tags/tag40.xml"/><Relationship Id="rId59" Type="http://schemas.openxmlformats.org/officeDocument/2006/relationships/tags" Target="../tags/tag61.xml"/><Relationship Id="rId103" Type="http://schemas.openxmlformats.org/officeDocument/2006/relationships/tags" Target="../tags/tag105.xml"/><Relationship Id="rId124" Type="http://schemas.openxmlformats.org/officeDocument/2006/relationships/tags" Target="../tags/tag126.xml"/><Relationship Id="rId310" Type="http://schemas.openxmlformats.org/officeDocument/2006/relationships/tags" Target="../tags/tag312.xml"/><Relationship Id="rId70" Type="http://schemas.openxmlformats.org/officeDocument/2006/relationships/tags" Target="../tags/tag72.xml"/><Relationship Id="rId91" Type="http://schemas.openxmlformats.org/officeDocument/2006/relationships/tags" Target="../tags/tag93.xml"/><Relationship Id="rId145" Type="http://schemas.openxmlformats.org/officeDocument/2006/relationships/tags" Target="../tags/tag147.xml"/><Relationship Id="rId166" Type="http://schemas.openxmlformats.org/officeDocument/2006/relationships/tags" Target="../tags/tag168.xml"/><Relationship Id="rId187" Type="http://schemas.openxmlformats.org/officeDocument/2006/relationships/tags" Target="../tags/tag189.xml"/><Relationship Id="rId331" Type="http://schemas.openxmlformats.org/officeDocument/2006/relationships/tags" Target="../tags/tag333.xml"/><Relationship Id="rId352" Type="http://schemas.openxmlformats.org/officeDocument/2006/relationships/tags" Target="../tags/tag354.xml"/><Relationship Id="rId373" Type="http://schemas.openxmlformats.org/officeDocument/2006/relationships/tags" Target="../tags/tag375.xml"/><Relationship Id="rId1" Type="http://schemas.openxmlformats.org/officeDocument/2006/relationships/tags" Target="../tags/tag3.xml"/><Relationship Id="rId212" Type="http://schemas.openxmlformats.org/officeDocument/2006/relationships/tags" Target="../tags/tag214.xml"/><Relationship Id="rId233" Type="http://schemas.openxmlformats.org/officeDocument/2006/relationships/tags" Target="../tags/tag235.xml"/><Relationship Id="rId254" Type="http://schemas.openxmlformats.org/officeDocument/2006/relationships/tags" Target="../tags/tag256.xml"/><Relationship Id="rId28" Type="http://schemas.openxmlformats.org/officeDocument/2006/relationships/tags" Target="../tags/tag30.xml"/><Relationship Id="rId49" Type="http://schemas.openxmlformats.org/officeDocument/2006/relationships/tags" Target="../tags/tag51.xml"/><Relationship Id="rId114" Type="http://schemas.openxmlformats.org/officeDocument/2006/relationships/tags" Target="../tags/tag116.xml"/><Relationship Id="rId275" Type="http://schemas.openxmlformats.org/officeDocument/2006/relationships/tags" Target="../tags/tag277.xml"/><Relationship Id="rId296" Type="http://schemas.openxmlformats.org/officeDocument/2006/relationships/tags" Target="../tags/tag298.xml"/><Relationship Id="rId300" Type="http://schemas.openxmlformats.org/officeDocument/2006/relationships/tags" Target="../tags/tag302.xml"/><Relationship Id="rId60" Type="http://schemas.openxmlformats.org/officeDocument/2006/relationships/tags" Target="../tags/tag62.xml"/><Relationship Id="rId81" Type="http://schemas.openxmlformats.org/officeDocument/2006/relationships/tags" Target="../tags/tag83.xml"/><Relationship Id="rId135" Type="http://schemas.openxmlformats.org/officeDocument/2006/relationships/tags" Target="../tags/tag137.xml"/><Relationship Id="rId156" Type="http://schemas.openxmlformats.org/officeDocument/2006/relationships/tags" Target="../tags/tag158.xml"/><Relationship Id="rId177" Type="http://schemas.openxmlformats.org/officeDocument/2006/relationships/tags" Target="../tags/tag179.xml"/><Relationship Id="rId198" Type="http://schemas.openxmlformats.org/officeDocument/2006/relationships/tags" Target="../tags/tag200.xml"/><Relationship Id="rId321" Type="http://schemas.openxmlformats.org/officeDocument/2006/relationships/tags" Target="../tags/tag323.xml"/><Relationship Id="rId342" Type="http://schemas.openxmlformats.org/officeDocument/2006/relationships/tags" Target="../tags/tag344.xml"/><Relationship Id="rId363" Type="http://schemas.openxmlformats.org/officeDocument/2006/relationships/tags" Target="../tags/tag365.xml"/><Relationship Id="rId202" Type="http://schemas.openxmlformats.org/officeDocument/2006/relationships/tags" Target="../tags/tag204.xml"/><Relationship Id="rId223" Type="http://schemas.openxmlformats.org/officeDocument/2006/relationships/tags" Target="../tags/tag225.xml"/><Relationship Id="rId244" Type="http://schemas.openxmlformats.org/officeDocument/2006/relationships/tags" Target="../tags/tag246.xml"/><Relationship Id="rId18" Type="http://schemas.openxmlformats.org/officeDocument/2006/relationships/tags" Target="../tags/tag20.xml"/><Relationship Id="rId39" Type="http://schemas.openxmlformats.org/officeDocument/2006/relationships/tags" Target="../tags/tag41.xml"/><Relationship Id="rId265" Type="http://schemas.openxmlformats.org/officeDocument/2006/relationships/tags" Target="../tags/tag267.xml"/><Relationship Id="rId286" Type="http://schemas.openxmlformats.org/officeDocument/2006/relationships/tags" Target="../tags/tag288.xml"/><Relationship Id="rId50" Type="http://schemas.openxmlformats.org/officeDocument/2006/relationships/tags" Target="../tags/tag52.xml"/><Relationship Id="rId104" Type="http://schemas.openxmlformats.org/officeDocument/2006/relationships/tags" Target="../tags/tag106.xml"/><Relationship Id="rId125" Type="http://schemas.openxmlformats.org/officeDocument/2006/relationships/tags" Target="../tags/tag127.xml"/><Relationship Id="rId146" Type="http://schemas.openxmlformats.org/officeDocument/2006/relationships/tags" Target="../tags/tag148.xml"/><Relationship Id="rId167" Type="http://schemas.openxmlformats.org/officeDocument/2006/relationships/tags" Target="../tags/tag169.xml"/><Relationship Id="rId188" Type="http://schemas.openxmlformats.org/officeDocument/2006/relationships/tags" Target="../tags/tag190.xml"/><Relationship Id="rId311" Type="http://schemas.openxmlformats.org/officeDocument/2006/relationships/tags" Target="../tags/tag313.xml"/><Relationship Id="rId332" Type="http://schemas.openxmlformats.org/officeDocument/2006/relationships/tags" Target="../tags/tag334.xml"/><Relationship Id="rId353" Type="http://schemas.openxmlformats.org/officeDocument/2006/relationships/tags" Target="../tags/tag355.xml"/><Relationship Id="rId374" Type="http://schemas.openxmlformats.org/officeDocument/2006/relationships/tags" Target="../tags/tag376.xml"/><Relationship Id="rId71" Type="http://schemas.openxmlformats.org/officeDocument/2006/relationships/tags" Target="../tags/tag73.xml"/><Relationship Id="rId92" Type="http://schemas.openxmlformats.org/officeDocument/2006/relationships/tags" Target="../tags/tag94.xml"/><Relationship Id="rId213" Type="http://schemas.openxmlformats.org/officeDocument/2006/relationships/tags" Target="../tags/tag215.xml"/><Relationship Id="rId234" Type="http://schemas.openxmlformats.org/officeDocument/2006/relationships/tags" Target="../tags/tag236.xml"/><Relationship Id="rId2" Type="http://schemas.openxmlformats.org/officeDocument/2006/relationships/tags" Target="../tags/tag4.xml"/><Relationship Id="rId29" Type="http://schemas.openxmlformats.org/officeDocument/2006/relationships/tags" Target="../tags/tag31.xml"/><Relationship Id="rId255" Type="http://schemas.openxmlformats.org/officeDocument/2006/relationships/tags" Target="../tags/tag257.xml"/><Relationship Id="rId276" Type="http://schemas.openxmlformats.org/officeDocument/2006/relationships/tags" Target="../tags/tag278.xml"/><Relationship Id="rId297" Type="http://schemas.openxmlformats.org/officeDocument/2006/relationships/tags" Target="../tags/tag299.xml"/><Relationship Id="rId40" Type="http://schemas.openxmlformats.org/officeDocument/2006/relationships/tags" Target="../tags/tag42.xml"/><Relationship Id="rId115" Type="http://schemas.openxmlformats.org/officeDocument/2006/relationships/tags" Target="../tags/tag117.xml"/><Relationship Id="rId136" Type="http://schemas.openxmlformats.org/officeDocument/2006/relationships/tags" Target="../tags/tag138.xml"/><Relationship Id="rId157" Type="http://schemas.openxmlformats.org/officeDocument/2006/relationships/tags" Target="../tags/tag159.xml"/><Relationship Id="rId178" Type="http://schemas.openxmlformats.org/officeDocument/2006/relationships/tags" Target="../tags/tag180.xml"/><Relationship Id="rId301" Type="http://schemas.openxmlformats.org/officeDocument/2006/relationships/tags" Target="../tags/tag303.xml"/><Relationship Id="rId322" Type="http://schemas.openxmlformats.org/officeDocument/2006/relationships/tags" Target="../tags/tag324.xml"/><Relationship Id="rId343" Type="http://schemas.openxmlformats.org/officeDocument/2006/relationships/tags" Target="../tags/tag345.xml"/><Relationship Id="rId364" Type="http://schemas.openxmlformats.org/officeDocument/2006/relationships/tags" Target="../tags/tag366.xml"/><Relationship Id="rId61" Type="http://schemas.openxmlformats.org/officeDocument/2006/relationships/tags" Target="../tags/tag63.xml"/><Relationship Id="rId82" Type="http://schemas.openxmlformats.org/officeDocument/2006/relationships/tags" Target="../tags/tag84.xml"/><Relationship Id="rId199" Type="http://schemas.openxmlformats.org/officeDocument/2006/relationships/tags" Target="../tags/tag201.xml"/><Relationship Id="rId203" Type="http://schemas.openxmlformats.org/officeDocument/2006/relationships/tags" Target="../tags/tag205.xml"/><Relationship Id="rId19" Type="http://schemas.openxmlformats.org/officeDocument/2006/relationships/tags" Target="../tags/tag21.xml"/><Relationship Id="rId224" Type="http://schemas.openxmlformats.org/officeDocument/2006/relationships/tags" Target="../tags/tag226.xml"/><Relationship Id="rId245" Type="http://schemas.openxmlformats.org/officeDocument/2006/relationships/tags" Target="../tags/tag247.xml"/><Relationship Id="rId266" Type="http://schemas.openxmlformats.org/officeDocument/2006/relationships/tags" Target="../tags/tag268.xml"/><Relationship Id="rId287" Type="http://schemas.openxmlformats.org/officeDocument/2006/relationships/tags" Target="../tags/tag289.xml"/><Relationship Id="rId30" Type="http://schemas.openxmlformats.org/officeDocument/2006/relationships/tags" Target="../tags/tag32.xml"/><Relationship Id="rId105" Type="http://schemas.openxmlformats.org/officeDocument/2006/relationships/tags" Target="../tags/tag107.xml"/><Relationship Id="rId126" Type="http://schemas.openxmlformats.org/officeDocument/2006/relationships/tags" Target="../tags/tag128.xml"/><Relationship Id="rId147" Type="http://schemas.openxmlformats.org/officeDocument/2006/relationships/tags" Target="../tags/tag149.xml"/><Relationship Id="rId168" Type="http://schemas.openxmlformats.org/officeDocument/2006/relationships/tags" Target="../tags/tag170.xml"/><Relationship Id="rId312" Type="http://schemas.openxmlformats.org/officeDocument/2006/relationships/tags" Target="../tags/tag314.xml"/><Relationship Id="rId333" Type="http://schemas.openxmlformats.org/officeDocument/2006/relationships/tags" Target="../tags/tag335.xml"/><Relationship Id="rId354" Type="http://schemas.openxmlformats.org/officeDocument/2006/relationships/tags" Target="../tags/tag356.xml"/><Relationship Id="rId51" Type="http://schemas.openxmlformats.org/officeDocument/2006/relationships/tags" Target="../tags/tag53.xml"/><Relationship Id="rId72" Type="http://schemas.openxmlformats.org/officeDocument/2006/relationships/tags" Target="../tags/tag74.xml"/><Relationship Id="rId93" Type="http://schemas.openxmlformats.org/officeDocument/2006/relationships/tags" Target="../tags/tag95.xml"/><Relationship Id="rId189" Type="http://schemas.openxmlformats.org/officeDocument/2006/relationships/tags" Target="../tags/tag191.xml"/><Relationship Id="rId375" Type="http://schemas.openxmlformats.org/officeDocument/2006/relationships/tags" Target="../tags/tag377.xml"/><Relationship Id="rId3" Type="http://schemas.openxmlformats.org/officeDocument/2006/relationships/tags" Target="../tags/tag5.xml"/><Relationship Id="rId214" Type="http://schemas.openxmlformats.org/officeDocument/2006/relationships/tags" Target="../tags/tag216.xml"/><Relationship Id="rId235" Type="http://schemas.openxmlformats.org/officeDocument/2006/relationships/tags" Target="../tags/tag237.xml"/><Relationship Id="rId256" Type="http://schemas.openxmlformats.org/officeDocument/2006/relationships/tags" Target="../tags/tag258.xml"/><Relationship Id="rId277" Type="http://schemas.openxmlformats.org/officeDocument/2006/relationships/tags" Target="../tags/tag279.xml"/><Relationship Id="rId298" Type="http://schemas.openxmlformats.org/officeDocument/2006/relationships/tags" Target="../tags/tag300.xml"/><Relationship Id="rId116" Type="http://schemas.openxmlformats.org/officeDocument/2006/relationships/tags" Target="../tags/tag118.xml"/><Relationship Id="rId137" Type="http://schemas.openxmlformats.org/officeDocument/2006/relationships/tags" Target="../tags/tag139.xml"/><Relationship Id="rId158" Type="http://schemas.openxmlformats.org/officeDocument/2006/relationships/tags" Target="../tags/tag160.xml"/><Relationship Id="rId302" Type="http://schemas.openxmlformats.org/officeDocument/2006/relationships/tags" Target="../tags/tag304.xml"/><Relationship Id="rId323" Type="http://schemas.openxmlformats.org/officeDocument/2006/relationships/tags" Target="../tags/tag325.xml"/><Relationship Id="rId344" Type="http://schemas.openxmlformats.org/officeDocument/2006/relationships/tags" Target="../tags/tag346.xml"/><Relationship Id="rId20" Type="http://schemas.openxmlformats.org/officeDocument/2006/relationships/tags" Target="../tags/tag22.xml"/><Relationship Id="rId41" Type="http://schemas.openxmlformats.org/officeDocument/2006/relationships/tags" Target="../tags/tag43.xml"/><Relationship Id="rId62" Type="http://schemas.openxmlformats.org/officeDocument/2006/relationships/tags" Target="../tags/tag64.xml"/><Relationship Id="rId83" Type="http://schemas.openxmlformats.org/officeDocument/2006/relationships/tags" Target="../tags/tag85.xml"/><Relationship Id="rId179" Type="http://schemas.openxmlformats.org/officeDocument/2006/relationships/tags" Target="../tags/tag181.xml"/><Relationship Id="rId365" Type="http://schemas.openxmlformats.org/officeDocument/2006/relationships/tags" Target="../tags/tag367.xml"/><Relationship Id="rId190" Type="http://schemas.openxmlformats.org/officeDocument/2006/relationships/tags" Target="../tags/tag192.xml"/><Relationship Id="rId204" Type="http://schemas.openxmlformats.org/officeDocument/2006/relationships/tags" Target="../tags/tag206.xml"/><Relationship Id="rId225" Type="http://schemas.openxmlformats.org/officeDocument/2006/relationships/tags" Target="../tags/tag227.xml"/><Relationship Id="rId246" Type="http://schemas.openxmlformats.org/officeDocument/2006/relationships/tags" Target="../tags/tag248.xml"/><Relationship Id="rId267" Type="http://schemas.openxmlformats.org/officeDocument/2006/relationships/tags" Target="../tags/tag269.xml"/><Relationship Id="rId288" Type="http://schemas.openxmlformats.org/officeDocument/2006/relationships/tags" Target="../tags/tag290.xml"/><Relationship Id="rId106" Type="http://schemas.openxmlformats.org/officeDocument/2006/relationships/tags" Target="../tags/tag108.xml"/><Relationship Id="rId127" Type="http://schemas.openxmlformats.org/officeDocument/2006/relationships/tags" Target="../tags/tag129.xml"/><Relationship Id="rId313" Type="http://schemas.openxmlformats.org/officeDocument/2006/relationships/tags" Target="../tags/tag315.xml"/><Relationship Id="rId10" Type="http://schemas.openxmlformats.org/officeDocument/2006/relationships/tags" Target="../tags/tag12.xml"/><Relationship Id="rId31" Type="http://schemas.openxmlformats.org/officeDocument/2006/relationships/tags" Target="../tags/tag33.xml"/><Relationship Id="rId52" Type="http://schemas.openxmlformats.org/officeDocument/2006/relationships/tags" Target="../tags/tag54.xml"/><Relationship Id="rId73" Type="http://schemas.openxmlformats.org/officeDocument/2006/relationships/tags" Target="../tags/tag75.xml"/><Relationship Id="rId94" Type="http://schemas.openxmlformats.org/officeDocument/2006/relationships/tags" Target="../tags/tag96.xml"/><Relationship Id="rId148" Type="http://schemas.openxmlformats.org/officeDocument/2006/relationships/tags" Target="../tags/tag150.xml"/><Relationship Id="rId169" Type="http://schemas.openxmlformats.org/officeDocument/2006/relationships/tags" Target="../tags/tag171.xml"/><Relationship Id="rId334" Type="http://schemas.openxmlformats.org/officeDocument/2006/relationships/tags" Target="../tags/tag336.xml"/><Relationship Id="rId355" Type="http://schemas.openxmlformats.org/officeDocument/2006/relationships/tags" Target="../tags/tag357.xml"/><Relationship Id="rId376" Type="http://schemas.openxmlformats.org/officeDocument/2006/relationships/tags" Target="../tags/tag378.xml"/><Relationship Id="rId4" Type="http://schemas.openxmlformats.org/officeDocument/2006/relationships/tags" Target="../tags/tag6.xml"/><Relationship Id="rId180" Type="http://schemas.openxmlformats.org/officeDocument/2006/relationships/tags" Target="../tags/tag182.xml"/><Relationship Id="rId215" Type="http://schemas.openxmlformats.org/officeDocument/2006/relationships/tags" Target="../tags/tag217.xml"/><Relationship Id="rId236" Type="http://schemas.openxmlformats.org/officeDocument/2006/relationships/tags" Target="../tags/tag238.xml"/><Relationship Id="rId257" Type="http://schemas.openxmlformats.org/officeDocument/2006/relationships/tags" Target="../tags/tag259.xml"/><Relationship Id="rId278" Type="http://schemas.openxmlformats.org/officeDocument/2006/relationships/tags" Target="../tags/tag2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6694" y="1337346"/>
            <a:ext cx="9159894" cy="233910"/>
          </a:xfrm>
        </p:spPr>
        <p:txBody>
          <a:bodyPr/>
          <a:lstStyle/>
          <a:p>
            <a:r>
              <a:rPr lang="en-US" dirty="0" smtClean="0"/>
              <a:t>Month, Year</a:t>
            </a:r>
            <a:endParaRPr lang="en-US" dirty="0"/>
          </a:p>
        </p:txBody>
      </p:sp>
      <p:sp>
        <p:nvSpPr>
          <p:cNvPr id="3" name="Title 2"/>
          <p:cNvSpPr>
            <a:spLocks noGrp="1"/>
          </p:cNvSpPr>
          <p:nvPr>
            <p:ph type="ctrTitle"/>
          </p:nvPr>
        </p:nvSpPr>
        <p:spPr/>
        <p:txBody>
          <a:bodyPr/>
          <a:lstStyle/>
          <a:p>
            <a:r>
              <a:rPr lang="en-US" dirty="0" smtClean="0"/>
              <a:t>STOXX</a:t>
            </a:r>
            <a:r>
              <a:rPr lang="en-US" baseline="30000" dirty="0" smtClean="0"/>
              <a:t>®</a:t>
            </a:r>
            <a:r>
              <a:rPr lang="en-US" b="0" baseline="30000" dirty="0" smtClean="0"/>
              <a:t> </a:t>
            </a:r>
            <a:r>
              <a:rPr lang="en-US" dirty="0" smtClean="0"/>
              <a:t> XXX INDEX (ALL CAPS)</a:t>
            </a:r>
            <a:r>
              <a:rPr lang="en-US" sz="1800" dirty="0"/>
              <a:t/>
            </a:r>
            <a:br>
              <a:rPr lang="en-US" sz="1800" dirty="0"/>
            </a:br>
            <a:endParaRPr lang="en-US" dirty="0"/>
          </a:p>
        </p:txBody>
      </p:sp>
    </p:spTree>
    <p:extLst>
      <p:ext uri="{BB962C8B-B14F-4D97-AF65-F5344CB8AC3E}">
        <p14:creationId xmlns:p14="http://schemas.microsoft.com/office/powerpoint/2010/main" val="14450605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smtClean="0"/>
              <a:t>®</a:t>
            </a:r>
            <a:r>
              <a:rPr lang="en-US" sz="1200" b="0" smtClean="0">
                <a:solidFill>
                  <a:srgbClr val="000000"/>
                </a:solidFill>
                <a:latin typeface="Arial"/>
                <a:cs typeface="Arial" charset="0"/>
              </a:rPr>
              <a:t>, DAX</a:t>
            </a:r>
            <a:r>
              <a:rPr lang="en-US" sz="1200" b="0" baseline="30000" smtClean="0"/>
              <a:t>®</a:t>
            </a:r>
            <a:r>
              <a:rPr lang="en-US" sz="1200">
                <a:solidFill>
                  <a:srgbClr val="000000"/>
                </a:solidFill>
                <a:latin typeface="Arial"/>
                <a:cs typeface="Arial" charset="0"/>
              </a:rPr>
              <a:t> </a:t>
            </a:r>
            <a:r>
              <a:rPr lang="en-US" sz="1200" b="0" smtClean="0">
                <a:solidFill>
                  <a:srgbClr val="000000"/>
                </a:solidFill>
                <a:latin typeface="Arial"/>
                <a:cs typeface="Arial" charset="0"/>
              </a:rPr>
              <a:t>or </a:t>
            </a:r>
            <a:r>
              <a:rPr lang="en-US" sz="1200" b="0" dirty="0" smtClean="0">
                <a:solidFill>
                  <a:srgbClr val="000000"/>
                </a:solidFill>
                <a:latin typeface="Arial"/>
                <a:cs typeface="Arial" charset="0"/>
              </a:rPr>
              <a:t>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38525919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9" name="Textplatzhalter 8"/>
          <p:cNvSpPr>
            <a:spLocks noGrp="1"/>
          </p:cNvSpPr>
          <p:nvPr>
            <p:ph type="body" sz="quarter" idx="10"/>
          </p:nvPr>
        </p:nvSpPr>
        <p:spPr/>
        <p:txBody>
          <a:bodyPr/>
          <a:lstStyle/>
          <a:p>
            <a:r>
              <a:rPr lang="en-US" dirty="0" smtClean="0"/>
              <a:t>Investment case	Page xx</a:t>
            </a:r>
          </a:p>
          <a:p>
            <a:r>
              <a:rPr lang="en-US" dirty="0" smtClean="0"/>
              <a:t>Methodology	Page xx</a:t>
            </a:r>
          </a:p>
          <a:p>
            <a:r>
              <a:rPr lang="en-US" dirty="0" smtClean="0"/>
              <a:t>Performance	Page xx</a:t>
            </a:r>
          </a:p>
          <a:p>
            <a:pPr marL="0" indent="0">
              <a:buNone/>
            </a:pPr>
            <a:r>
              <a:rPr lang="en-US" dirty="0" smtClean="0"/>
              <a:t>Appendix</a:t>
            </a:r>
            <a:endParaRPr lang="en-US" dirty="0"/>
          </a:p>
        </p:txBody>
      </p:sp>
      <p:sp>
        <p:nvSpPr>
          <p:cNvPr id="5" name="TextBox 4"/>
          <p:cNvSpPr txBox="1"/>
          <p:nvPr/>
        </p:nvSpPr>
        <p:spPr>
          <a:xfrm>
            <a:off x="368300" y="90686"/>
            <a:ext cx="9170988" cy="276999"/>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note appendix does NOT have a number.</a:t>
            </a:r>
            <a:endParaRPr lang="de-DE" sz="1200" b="1" dirty="0" smtClean="0">
              <a:solidFill>
                <a:srgbClr val="D80F5F"/>
              </a:solidFill>
            </a:endParaRPr>
          </a:p>
        </p:txBody>
      </p:sp>
    </p:spTree>
    <p:extLst>
      <p:ext uri="{BB962C8B-B14F-4D97-AF65-F5344CB8AC3E}">
        <p14:creationId xmlns:p14="http://schemas.microsoft.com/office/powerpoint/2010/main" val="13919250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smtClean="0"/>
              <a:t>Investment case</a:t>
            </a:r>
          </a:p>
        </p:txBody>
      </p:sp>
      <p:sp>
        <p:nvSpPr>
          <p:cNvPr id="3" name="Text Placeholder 2"/>
          <p:cNvSpPr>
            <a:spLocks noGrp="1"/>
          </p:cNvSpPr>
          <p:nvPr>
            <p:ph type="body" sz="quarter" idx="13"/>
          </p:nvPr>
        </p:nvSpPr>
        <p:spPr/>
        <p:txBody>
          <a:bodyPr/>
          <a:lstStyle/>
          <a:p>
            <a:endParaRPr lang="en-US" dirty="0"/>
          </a:p>
        </p:txBody>
      </p:sp>
      <p:sp>
        <p:nvSpPr>
          <p:cNvPr id="2" name="Text Placeholder 1"/>
          <p:cNvSpPr>
            <a:spLocks noGrp="1"/>
          </p:cNvSpPr>
          <p:nvPr>
            <p:ph type="body" sz="quarter" idx="12"/>
          </p:nvPr>
        </p:nvSpPr>
        <p:spPr>
          <a:xfrm>
            <a:off x="1737360" y="6400800"/>
            <a:ext cx="7589520" cy="365760"/>
          </a:xfrm>
        </p:spPr>
        <p:txBody>
          <a:bodyPr/>
          <a:lstStyle/>
          <a:p>
            <a:endParaRPr lang="en-US" dirty="0"/>
          </a:p>
        </p:txBody>
      </p:sp>
      <p:sp>
        <p:nvSpPr>
          <p:cNvPr id="37891" name="Rectangle 3"/>
          <p:cNvSpPr>
            <a:spLocks noChangeArrowheads="1"/>
          </p:cNvSpPr>
          <p:nvPr/>
        </p:nvSpPr>
        <p:spPr bwMode="auto">
          <a:xfrm>
            <a:off x="368300" y="2217738"/>
            <a:ext cx="4357688" cy="701731"/>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en-US" sz="1600" b="0" dirty="0" smtClean="0"/>
              <a:t>First </a:t>
            </a:r>
            <a:r>
              <a:rPr lang="en-US" sz="1600" b="0" dirty="0"/>
              <a:t>l</a:t>
            </a:r>
            <a:r>
              <a:rPr lang="en-US" sz="1600" b="0" dirty="0" smtClean="0"/>
              <a:t>evel</a:t>
            </a:r>
            <a:endParaRPr lang="en-US" sz="1600" b="0" dirty="0"/>
          </a:p>
          <a:p>
            <a:pPr marL="361950" lvl="2" indent="-169863" algn="l">
              <a:lnSpc>
                <a:spcPct val="95000"/>
              </a:lnSpc>
              <a:spcBef>
                <a:spcPct val="0"/>
              </a:spcBef>
              <a:buFont typeface="Arial" charset="0"/>
              <a:buChar char="»"/>
            </a:pPr>
            <a:r>
              <a:rPr lang="en-US" sz="1600" b="0" dirty="0"/>
              <a:t>Second </a:t>
            </a:r>
            <a:r>
              <a:rPr lang="en-US" sz="1600" b="0" dirty="0" smtClean="0"/>
              <a:t>level</a:t>
            </a:r>
            <a:endParaRPr lang="en-US" sz="1600" b="0" dirty="0"/>
          </a:p>
          <a:p>
            <a:pPr marL="542925" lvl="3" indent="-179388" algn="l">
              <a:lnSpc>
                <a:spcPct val="95000"/>
              </a:lnSpc>
              <a:spcBef>
                <a:spcPct val="0"/>
              </a:spcBef>
              <a:buFont typeface="Arial" charset="0"/>
              <a:buChar char="»"/>
            </a:pPr>
            <a:r>
              <a:rPr lang="en-US" sz="1600" b="0" dirty="0"/>
              <a:t>Third </a:t>
            </a:r>
            <a:r>
              <a:rPr lang="en-US" sz="1600" b="0" dirty="0" smtClean="0"/>
              <a:t>level</a:t>
            </a:r>
            <a:endParaRPr lang="en-US" sz="1600" b="0" dirty="0"/>
          </a:p>
        </p:txBody>
      </p:sp>
      <p:sp>
        <p:nvSpPr>
          <p:cNvPr id="37892" name="Rectangle 2"/>
          <p:cNvSpPr>
            <a:spLocks noChangeArrowheads="1"/>
          </p:cNvSpPr>
          <p:nvPr/>
        </p:nvSpPr>
        <p:spPr bwMode="auto">
          <a:xfrm>
            <a:off x="368300" y="1836738"/>
            <a:ext cx="4357688"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a:solidFill>
                  <a:schemeClr val="bg1"/>
                </a:solidFill>
              </a:rPr>
              <a:t>Heading</a:t>
            </a:r>
          </a:p>
        </p:txBody>
      </p:sp>
      <p:sp>
        <p:nvSpPr>
          <p:cNvPr id="37893" name="Rectangle 5"/>
          <p:cNvSpPr>
            <a:spLocks noChangeArrowheads="1"/>
          </p:cNvSpPr>
          <p:nvPr/>
        </p:nvSpPr>
        <p:spPr bwMode="auto">
          <a:xfrm>
            <a:off x="5167313" y="2217738"/>
            <a:ext cx="4359275" cy="695325"/>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en-US" sz="1600" b="0" dirty="0" smtClean="0"/>
              <a:t>First level</a:t>
            </a:r>
            <a:endParaRPr lang="en-US" sz="1600" b="0" dirty="0"/>
          </a:p>
          <a:p>
            <a:pPr marL="361950" lvl="2" indent="-169863" algn="l">
              <a:lnSpc>
                <a:spcPct val="95000"/>
              </a:lnSpc>
              <a:spcBef>
                <a:spcPct val="0"/>
              </a:spcBef>
              <a:buFont typeface="Arial" charset="0"/>
              <a:buChar char="»"/>
            </a:pPr>
            <a:r>
              <a:rPr lang="en-US" sz="1600" b="0" dirty="0"/>
              <a:t>Second </a:t>
            </a:r>
            <a:r>
              <a:rPr lang="en-US" sz="1600" b="0" dirty="0" smtClean="0"/>
              <a:t>level</a:t>
            </a:r>
            <a:endParaRPr lang="en-US" sz="1600" b="0" dirty="0"/>
          </a:p>
          <a:p>
            <a:pPr marL="542925" lvl="3" indent="-179388" algn="l">
              <a:lnSpc>
                <a:spcPct val="95000"/>
              </a:lnSpc>
              <a:spcBef>
                <a:spcPct val="0"/>
              </a:spcBef>
              <a:buFont typeface="Arial" charset="0"/>
              <a:buChar char="»"/>
            </a:pPr>
            <a:r>
              <a:rPr lang="en-US" sz="1600" b="0" dirty="0"/>
              <a:t>Third </a:t>
            </a:r>
            <a:r>
              <a:rPr lang="en-US" sz="1600" b="0" dirty="0" smtClean="0"/>
              <a:t>level</a:t>
            </a:r>
            <a:endParaRPr lang="en-US" sz="1600" b="0" dirty="0"/>
          </a:p>
        </p:txBody>
      </p:sp>
      <p:sp>
        <p:nvSpPr>
          <p:cNvPr id="37894" name="Rectangle 2"/>
          <p:cNvSpPr>
            <a:spLocks noChangeArrowheads="1"/>
          </p:cNvSpPr>
          <p:nvPr/>
        </p:nvSpPr>
        <p:spPr bwMode="auto">
          <a:xfrm>
            <a:off x="5167313" y="1836738"/>
            <a:ext cx="4359275"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a:solidFill>
                  <a:schemeClr val="bg1"/>
                </a:solidFill>
              </a:rPr>
              <a:t>Heading</a:t>
            </a:r>
          </a:p>
        </p:txBody>
      </p:sp>
      <p:grpSp>
        <p:nvGrpSpPr>
          <p:cNvPr id="6" name="Group 5"/>
          <p:cNvGrpSpPr/>
          <p:nvPr/>
        </p:nvGrpSpPr>
        <p:grpSpPr>
          <a:xfrm>
            <a:off x="4775200" y="1842229"/>
            <a:ext cx="341313" cy="3978276"/>
            <a:chOff x="4775200" y="1842229"/>
            <a:chExt cx="341313" cy="3978276"/>
          </a:xfrm>
        </p:grpSpPr>
        <p:cxnSp>
          <p:nvCxnSpPr>
            <p:cNvPr id="18" name="Straight Connector 17"/>
            <p:cNvCxnSpPr/>
            <p:nvPr/>
          </p:nvCxnSpPr>
          <p:spPr>
            <a:xfrm>
              <a:off x="4945856" y="1842229"/>
              <a:ext cx="0" cy="3978276"/>
            </a:xfrm>
            <a:prstGeom prst="line">
              <a:avLst/>
            </a:prstGeom>
            <a:ln w="19050">
              <a:solidFill>
                <a:srgbClr val="92B602"/>
              </a:solidFill>
            </a:ln>
          </p:spPr>
          <p:style>
            <a:lnRef idx="1">
              <a:schemeClr val="accent1"/>
            </a:lnRef>
            <a:fillRef idx="0">
              <a:schemeClr val="accent1"/>
            </a:fillRef>
            <a:effectRef idx="0">
              <a:schemeClr val="accent1"/>
            </a:effectRef>
            <a:fontRef idx="minor">
              <a:schemeClr val="tx1"/>
            </a:fontRef>
          </p:style>
        </p:cxnSp>
        <p:grpSp>
          <p:nvGrpSpPr>
            <p:cNvPr id="20" name="Group 10"/>
            <p:cNvGrpSpPr>
              <a:grpSpLocks/>
            </p:cNvGrpSpPr>
            <p:nvPr/>
          </p:nvGrpSpPr>
          <p:grpSpPr bwMode="auto">
            <a:xfrm>
              <a:off x="4775200" y="3634517"/>
              <a:ext cx="341313" cy="393700"/>
              <a:chOff x="3694" y="1437"/>
              <a:chExt cx="198" cy="248"/>
            </a:xfrm>
          </p:grpSpPr>
          <p:sp>
            <p:nvSpPr>
              <p:cNvPr id="21" name="Rectangle 11"/>
              <p:cNvSpPr>
                <a:spLocks noChangeArrowheads="1"/>
              </p:cNvSpPr>
              <p:nvPr/>
            </p:nvSpPr>
            <p:spPr bwMode="auto">
              <a:xfrm>
                <a:off x="3694" y="1437"/>
                <a:ext cx="198" cy="248"/>
              </a:xfrm>
              <a:prstGeom prst="rect">
                <a:avLst/>
              </a:prstGeom>
              <a:solidFill>
                <a:schemeClr val="bg1"/>
              </a:solidFill>
              <a:ln w="9525" algn="ctr">
                <a:solidFill>
                  <a:schemeClr val="bg1"/>
                </a:solidFill>
                <a:miter lim="800000"/>
                <a:headEnd/>
                <a:tailEnd/>
              </a:ln>
            </p:spPr>
            <p:txBody>
              <a:bodyPr lIns="0" tIns="0" rIns="0" bIns="0" anchor="ctr">
                <a:noAutofit/>
              </a:bodyPr>
              <a:lstStyle/>
              <a:p>
                <a:pPr>
                  <a:spcBef>
                    <a:spcPct val="0"/>
                  </a:spcBef>
                </a:pPr>
                <a:endParaRPr lang="en-US" dirty="0"/>
              </a:p>
            </p:txBody>
          </p:sp>
          <p:grpSp>
            <p:nvGrpSpPr>
              <p:cNvPr id="22" name="Group 12"/>
              <p:cNvGrpSpPr>
                <a:grpSpLocks/>
              </p:cNvGrpSpPr>
              <p:nvPr/>
            </p:nvGrpSpPr>
            <p:grpSpPr bwMode="auto">
              <a:xfrm>
                <a:off x="3694" y="1465"/>
                <a:ext cx="198" cy="194"/>
                <a:chOff x="1603" y="2418"/>
                <a:chExt cx="198" cy="194"/>
              </a:xfrm>
            </p:grpSpPr>
            <p:sp>
              <p:nvSpPr>
                <p:cNvPr id="23" name="Freeform 13"/>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p>
              </p:txBody>
            </p:sp>
            <p:sp>
              <p:nvSpPr>
                <p:cNvPr id="24" name="Freeform 14"/>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p>
              </p:txBody>
            </p:sp>
          </p:grpSp>
        </p:grpSp>
      </p:grpSp>
      <p:sp>
        <p:nvSpPr>
          <p:cNvPr id="17" name="TextBox 16"/>
          <p:cNvSpPr txBox="1"/>
          <p:nvPr/>
        </p:nvSpPr>
        <p:spPr>
          <a:xfrm>
            <a:off x="368300" y="90686"/>
            <a:ext cx="9170988" cy="276999"/>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use two slides for investment case if needed. Choose from master template.</a:t>
            </a:r>
            <a:endParaRPr lang="de-DE" sz="1200" b="1" dirty="0" smtClean="0">
              <a:solidFill>
                <a:srgbClr val="D80F5F"/>
              </a:solidFill>
            </a:endParaRPr>
          </a:p>
        </p:txBody>
      </p:sp>
    </p:spTree>
    <p:extLst>
      <p:ext uri="{BB962C8B-B14F-4D97-AF65-F5344CB8AC3E}">
        <p14:creationId xmlns:p14="http://schemas.microsoft.com/office/powerpoint/2010/main" val="16852546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ChangeArrowheads="1"/>
          </p:cNvSpPr>
          <p:nvPr>
            <p:ph type="title"/>
          </p:nvPr>
        </p:nvSpPr>
        <p:spPr/>
        <p:txBody>
          <a:bodyPr/>
          <a:lstStyle/>
          <a:p>
            <a:r>
              <a:rPr lang="en-US" dirty="0" smtClean="0">
                <a:cs typeface="Arial" panose="020B0604020202020204" pitchFamily="34" charset="0"/>
              </a:rPr>
              <a:t>Methodology</a:t>
            </a:r>
            <a:endParaRPr lang="en-US" dirty="0" smtClean="0"/>
          </a:p>
        </p:txBody>
      </p:sp>
      <p:sp>
        <p:nvSpPr>
          <p:cNvPr id="3" name="Text Placeholder 2"/>
          <p:cNvSpPr>
            <a:spLocks noGrp="1"/>
          </p:cNvSpPr>
          <p:nvPr>
            <p:ph type="body" sz="quarter" idx="13"/>
          </p:nvPr>
        </p:nvSpPr>
        <p:spPr/>
        <p:txBody>
          <a:bodyPr/>
          <a:lstStyle/>
          <a:p>
            <a:endParaRPr lang="en-US" dirty="0"/>
          </a:p>
        </p:txBody>
      </p:sp>
      <p:sp>
        <p:nvSpPr>
          <p:cNvPr id="2" name="Text Placeholder 1"/>
          <p:cNvSpPr>
            <a:spLocks noGrp="1"/>
          </p:cNvSpPr>
          <p:nvPr>
            <p:ph type="body" sz="quarter" idx="12"/>
          </p:nvPr>
        </p:nvSpPr>
        <p:spPr>
          <a:xfrm>
            <a:off x="1737360" y="6400800"/>
            <a:ext cx="7589520" cy="365760"/>
          </a:xfrm>
        </p:spPr>
        <p:txBody>
          <a:bodyPr/>
          <a:lstStyle/>
          <a:p>
            <a:endParaRPr lang="en-US" dirty="0"/>
          </a:p>
        </p:txBody>
      </p:sp>
      <p:sp>
        <p:nvSpPr>
          <p:cNvPr id="21" name="Rectangle 10"/>
          <p:cNvSpPr>
            <a:spLocks noChangeArrowheads="1"/>
          </p:cNvSpPr>
          <p:nvPr/>
        </p:nvSpPr>
        <p:spPr bwMode="auto">
          <a:xfrm>
            <a:off x="1897070" y="4953748"/>
            <a:ext cx="574526" cy="204671"/>
          </a:xfrm>
          <a:prstGeom prst="rect">
            <a:avLst/>
          </a:prstGeom>
          <a:noFill/>
          <a:ln w="9525" algn="ctr">
            <a:noFill/>
            <a:miter lim="800000"/>
            <a:headEnd/>
            <a:tailEnd/>
          </a:ln>
        </p:spPr>
        <p:txBody>
          <a:bodyPr wrap="square"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2" name="Rectangle 11"/>
          <p:cNvSpPr>
            <a:spLocks noChangeArrowheads="1"/>
          </p:cNvSpPr>
          <p:nvPr/>
        </p:nvSpPr>
        <p:spPr bwMode="auto">
          <a:xfrm>
            <a:off x="1799364" y="4236959"/>
            <a:ext cx="771525"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3" name="Rectangle 12"/>
          <p:cNvSpPr>
            <a:spLocks noChangeArrowheads="1"/>
          </p:cNvSpPr>
          <p:nvPr/>
        </p:nvSpPr>
        <p:spPr bwMode="auto">
          <a:xfrm>
            <a:off x="899252" y="2077723"/>
            <a:ext cx="2570162"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5" name="Rectangle 18"/>
          <p:cNvSpPr>
            <a:spLocks noChangeArrowheads="1"/>
          </p:cNvSpPr>
          <p:nvPr/>
        </p:nvSpPr>
        <p:spPr bwMode="auto">
          <a:xfrm>
            <a:off x="1492977" y="3520169"/>
            <a:ext cx="1384300"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9" name="Rectangle 6"/>
          <p:cNvSpPr>
            <a:spLocks noChangeArrowheads="1"/>
          </p:cNvSpPr>
          <p:nvPr/>
        </p:nvSpPr>
        <p:spPr bwMode="auto">
          <a:xfrm>
            <a:off x="4261104" y="4425572"/>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0" name="Rectangle 6"/>
          <p:cNvSpPr>
            <a:spLocks noChangeArrowheads="1"/>
          </p:cNvSpPr>
          <p:nvPr/>
        </p:nvSpPr>
        <p:spPr bwMode="auto">
          <a:xfrm>
            <a:off x="4261104" y="3579953"/>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1" name="Rectangle 6"/>
          <p:cNvSpPr>
            <a:spLocks noChangeArrowheads="1"/>
          </p:cNvSpPr>
          <p:nvPr/>
        </p:nvSpPr>
        <p:spPr bwMode="auto">
          <a:xfrm>
            <a:off x="4261104" y="2734333"/>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2" name="Rectangle 6"/>
          <p:cNvSpPr>
            <a:spLocks noChangeArrowheads="1"/>
          </p:cNvSpPr>
          <p:nvPr/>
        </p:nvSpPr>
        <p:spPr bwMode="auto">
          <a:xfrm>
            <a:off x="4261104" y="1888713"/>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19" name="Flowchart: Merge 18"/>
          <p:cNvSpPr/>
          <p:nvPr/>
        </p:nvSpPr>
        <p:spPr bwMode="auto">
          <a:xfrm>
            <a:off x="365760" y="1833975"/>
            <a:ext cx="3566160" cy="3630200"/>
          </a:xfrm>
          <a:prstGeom prst="flowChartMerge">
            <a:avLst/>
          </a:prstGeom>
          <a:gradFill flip="none" rotWithShape="1">
            <a:gsLst>
              <a:gs pos="43000">
                <a:schemeClr val="accent3"/>
              </a:gs>
              <a:gs pos="84000">
                <a:schemeClr val="accent4"/>
              </a:gs>
              <a:gs pos="63000">
                <a:schemeClr val="accent4"/>
              </a:gs>
              <a:gs pos="22000">
                <a:schemeClr val="accent2"/>
              </a:gs>
            </a:gsLst>
            <a:lin ang="5400000" scaled="1"/>
            <a:tileRect/>
          </a:gradFill>
          <a:ln w="6350" algn="ctr">
            <a:noFill/>
            <a:miter lim="800000"/>
            <a:headEnd/>
            <a:tailEnd/>
          </a:ln>
        </p:spPr>
        <p:txBody>
          <a:bodyPr wrap="none" anchor="t"/>
          <a:lstStyle/>
          <a:p>
            <a:pPr>
              <a:spcBef>
                <a:spcPts val="0"/>
              </a:spcBef>
              <a:spcAft>
                <a:spcPts val="600"/>
              </a:spcAft>
            </a:pPr>
            <a:endParaRPr lang="en-US" sz="800" dirty="0" smtClean="0">
              <a:solidFill>
                <a:prstClr val="white"/>
              </a:solidFill>
            </a:endParaRPr>
          </a:p>
          <a:p>
            <a:pPr>
              <a:spcBef>
                <a:spcPts val="0"/>
              </a:spcBef>
              <a:spcAft>
                <a:spcPts val="0"/>
              </a:spcAft>
            </a:pPr>
            <a:endParaRPr lang="en-US" sz="1400" dirty="0">
              <a:solidFill>
                <a:prstClr val="white"/>
              </a:solidFill>
            </a:endParaRPr>
          </a:p>
        </p:txBody>
      </p:sp>
      <p:sp>
        <p:nvSpPr>
          <p:cNvPr id="20" name="TextBox 19"/>
          <p:cNvSpPr txBox="1"/>
          <p:nvPr/>
        </p:nvSpPr>
        <p:spPr>
          <a:xfrm>
            <a:off x="1400923" y="190333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Universe</a:t>
            </a:r>
          </a:p>
        </p:txBody>
      </p:sp>
      <p:sp>
        <p:nvSpPr>
          <p:cNvPr id="24" name="TextBox 23"/>
          <p:cNvSpPr txBox="1"/>
          <p:nvPr/>
        </p:nvSpPr>
        <p:spPr>
          <a:xfrm>
            <a:off x="1400923" y="274895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Filter</a:t>
            </a:r>
          </a:p>
        </p:txBody>
      </p:sp>
      <p:sp>
        <p:nvSpPr>
          <p:cNvPr id="26" name="TextBox 25"/>
          <p:cNvSpPr txBox="1"/>
          <p:nvPr/>
        </p:nvSpPr>
        <p:spPr>
          <a:xfrm>
            <a:off x="1400923" y="359457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Select</a:t>
            </a:r>
          </a:p>
        </p:txBody>
      </p:sp>
      <p:sp>
        <p:nvSpPr>
          <p:cNvPr id="27" name="TextBox 26"/>
          <p:cNvSpPr txBox="1"/>
          <p:nvPr/>
        </p:nvSpPr>
        <p:spPr>
          <a:xfrm>
            <a:off x="1400923" y="4440192"/>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Weight</a:t>
            </a:r>
          </a:p>
        </p:txBody>
      </p:sp>
    </p:spTree>
    <p:extLst>
      <p:ext uri="{BB962C8B-B14F-4D97-AF65-F5344CB8AC3E}">
        <p14:creationId xmlns:p14="http://schemas.microsoft.com/office/powerpoint/2010/main" val="8348368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9"/>
          <p:cNvGraphicFramePr>
            <a:graphicFrameLocks/>
          </p:cNvGraphicFramePr>
          <p:nvPr>
            <p:extLst>
              <p:ext uri="{D42A27DB-BD31-4B8C-83A1-F6EECF244321}">
                <p14:modId xmlns:p14="http://schemas.microsoft.com/office/powerpoint/2010/main" val="1957615034"/>
              </p:ext>
            </p:extLst>
          </p:nvPr>
        </p:nvGraphicFramePr>
        <p:xfrm>
          <a:off x="364300" y="2225820"/>
          <a:ext cx="4361688"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7411" name="Rectangle 2"/>
          <p:cNvSpPr>
            <a:spLocks noGrp="1" noChangeArrowheads="1"/>
          </p:cNvSpPr>
          <p:nvPr>
            <p:ph type="title"/>
          </p:nvPr>
        </p:nvSpPr>
        <p:spPr/>
        <p:txBody>
          <a:bodyPr>
            <a:normAutofit/>
          </a:bodyPr>
          <a:lstStyle/>
          <a:p>
            <a:r>
              <a:rPr lang="en-US" dirty="0" smtClean="0">
                <a:solidFill>
                  <a:schemeClr val="tx1"/>
                </a:solidFill>
              </a:rPr>
              <a:t>Key figures + line chart</a:t>
            </a:r>
          </a:p>
        </p:txBody>
      </p:sp>
      <p:graphicFrame>
        <p:nvGraphicFramePr>
          <p:cNvPr id="23" name="Group 62"/>
          <p:cNvGraphicFramePr>
            <a:graphicFrameLocks noGrp="1"/>
          </p:cNvGraphicFramePr>
          <p:nvPr>
            <p:custDataLst>
              <p:tags r:id="rId1"/>
            </p:custDataLst>
            <p:extLst>
              <p:ext uri="{D42A27DB-BD31-4B8C-83A1-F6EECF244321}">
                <p14:modId xmlns:p14="http://schemas.microsoft.com/office/powerpoint/2010/main" val="1265145054"/>
              </p:ext>
            </p:extLst>
          </p:nvPr>
        </p:nvGraphicFramePr>
        <p:xfrm>
          <a:off x="5172074" y="2225820"/>
          <a:ext cx="4361688" cy="3200403"/>
        </p:xfrm>
        <a:graphic>
          <a:graphicData uri="http://schemas.openxmlformats.org/drawingml/2006/table">
            <a:tbl>
              <a:tblPr>
                <a:tableStyleId>{616DA210-FB5B-4158-B5E0-FEB733F419BA}</a:tableStyleId>
              </a:tblPr>
              <a:tblGrid>
                <a:gridCol w="1602882"/>
                <a:gridCol w="919602"/>
                <a:gridCol w="919602"/>
                <a:gridCol w="919602"/>
              </a:tblGrid>
              <a:tr h="80245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Reference index</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u="none" strike="noStrike" kern="1200" cap="none" normalizeH="0" baseline="0" noProof="0" dirty="0" smtClean="0">
                          <a:ln>
                            <a:noFill/>
                          </a:ln>
                          <a:solidFill>
                            <a:schemeClr val="accent2"/>
                          </a:solidFill>
                          <a:effectLst/>
                        </a:rPr>
                        <a:t>Benchmark index 1</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rgbClr val="665C8C"/>
                          </a:solidFill>
                          <a:effectLst/>
                          <a:latin typeface="Arial"/>
                          <a:ea typeface=""/>
                          <a:cs typeface=""/>
                        </a:rPr>
                        <a:t>Benchmark index 2</a:t>
                      </a:r>
                      <a:endParaRPr kumimoji="0" lang="en-US" sz="1000" b="1" i="0" u="none" strike="noStrike" kern="1200" cap="none" normalizeH="0" baseline="0" noProof="0" dirty="0">
                        <a:ln>
                          <a:noFill/>
                        </a:ln>
                        <a:solidFill>
                          <a:srgbClr val="665C8C"/>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No. of components</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Return (annualized)</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Volatility (annualized)</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Maximum drawdow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Sharpe ratio</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Turnover</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3)</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Net/Gross dividend yield</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4)</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5" name="Rectangle 2"/>
          <p:cNvSpPr>
            <a:spLocks noChangeArrowheads="1"/>
          </p:cNvSpPr>
          <p:nvPr/>
        </p:nvSpPr>
        <p:spPr bwMode="auto">
          <a:xfrm>
            <a:off x="368301"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Index</a:t>
            </a:r>
            <a:r>
              <a:rPr lang="en-US" sz="1600" baseline="30000" dirty="0" smtClean="0">
                <a:solidFill>
                  <a:schemeClr val="bg1"/>
                </a:solidFill>
              </a:rPr>
              <a:t>1)</a:t>
            </a:r>
            <a:endParaRPr lang="en-US" sz="1600" b="1" dirty="0">
              <a:solidFill>
                <a:schemeClr val="bg1"/>
              </a:solidFill>
            </a:endParaRPr>
          </a:p>
        </p:txBody>
      </p:sp>
      <p:sp>
        <p:nvSpPr>
          <p:cNvPr id="86" name="Rectangle 2"/>
          <p:cNvSpPr>
            <a:spLocks noChangeArrowheads="1"/>
          </p:cNvSpPr>
          <p:nvPr/>
        </p:nvSpPr>
        <p:spPr bwMode="auto">
          <a:xfrm>
            <a:off x="5167313"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Key figures</a:t>
            </a:r>
            <a:r>
              <a:rPr lang="en-US" sz="1600" baseline="30000" dirty="0" smtClean="0">
                <a:solidFill>
                  <a:schemeClr val="bg1"/>
                </a:solidFill>
              </a:rPr>
              <a:t>1)</a:t>
            </a:r>
            <a:endParaRPr lang="en-US" sz="1600" baseline="30000" dirty="0">
              <a:solidFill>
                <a:schemeClr val="bg1"/>
              </a:solidFill>
            </a:endParaRPr>
          </a:p>
        </p:txBody>
      </p:sp>
      <p:sp>
        <p:nvSpPr>
          <p:cNvPr id="26" name="TextBox 25"/>
          <p:cNvSpPr txBox="1"/>
          <p:nvPr/>
        </p:nvSpPr>
        <p:spPr>
          <a:xfrm>
            <a:off x="368300" y="-1647"/>
            <a:ext cx="9170988" cy="461665"/>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mention currency version in the legends next to the graph. Fill out footnotes regarding turnover, dividend yield correctly</a:t>
            </a:r>
            <a:endParaRPr lang="de-DE" sz="1200" b="1" dirty="0" smtClean="0">
              <a:solidFill>
                <a:srgbClr val="D80F5F"/>
              </a:solidFill>
            </a:endParaRPr>
          </a:p>
        </p:txBody>
      </p:sp>
      <p:sp>
        <p:nvSpPr>
          <p:cNvPr id="27" name="Rectangle 6"/>
          <p:cNvSpPr>
            <a:spLocks noChangeArrowheads="1"/>
          </p:cNvSpPr>
          <p:nvPr/>
        </p:nvSpPr>
        <p:spPr bwMode="auto">
          <a:xfrm>
            <a:off x="4149025" y="5680359"/>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Benchmark 1 (CUR VR)</a:t>
            </a:r>
            <a:endParaRPr lang="en-US" sz="1000" dirty="0"/>
          </a:p>
        </p:txBody>
      </p:sp>
      <p:sp>
        <p:nvSpPr>
          <p:cNvPr id="35" name="Rectangle 6"/>
          <p:cNvSpPr>
            <a:spLocks noChangeArrowheads="1"/>
          </p:cNvSpPr>
          <p:nvPr/>
        </p:nvSpPr>
        <p:spPr bwMode="auto">
          <a:xfrm>
            <a:off x="7903104" y="5699217"/>
            <a:ext cx="233850" cy="144463"/>
          </a:xfrm>
          <a:prstGeom prst="rect">
            <a:avLst/>
          </a:prstGeom>
          <a:solidFill>
            <a:srgbClr val="665C8C"/>
          </a:solidFill>
          <a:ln w="9525" algn="ctr">
            <a:noFill/>
            <a:miter lim="800000"/>
            <a:headEnd/>
            <a:tailEnd/>
          </a:ln>
        </p:spPr>
        <p:txBody>
          <a:bodyPr wrap="none" lIns="365760" tIns="0" rIns="0" bIns="0" anchor="ctr"/>
          <a:lstStyle/>
          <a:p>
            <a:pPr>
              <a:spcBef>
                <a:spcPct val="0"/>
              </a:spcBef>
            </a:pPr>
            <a:r>
              <a:rPr lang="en-US" sz="1000" dirty="0" smtClean="0"/>
              <a:t>Benchmark 2(CUR VR)</a:t>
            </a:r>
            <a:endParaRPr lang="en-US" sz="1000" dirty="0"/>
          </a:p>
        </p:txBody>
      </p:sp>
      <p:sp>
        <p:nvSpPr>
          <p:cNvPr id="36" name="Text Box 150"/>
          <p:cNvSpPr txBox="1">
            <a:spLocks noChangeArrowheads="1"/>
          </p:cNvSpPr>
          <p:nvPr/>
        </p:nvSpPr>
        <p:spPr bwMode="auto">
          <a:xfrm>
            <a:off x="1737360" y="6400800"/>
            <a:ext cx="7680960" cy="292388"/>
          </a:xfrm>
          <a:prstGeom prst="rect">
            <a:avLst/>
          </a:prstGeom>
          <a:noFill/>
          <a:ln w="9525">
            <a:noFill/>
            <a:miter lim="800000"/>
            <a:headEnd/>
            <a:tailEnd/>
          </a:ln>
        </p:spPr>
        <p:txBody>
          <a:bodyPr lIns="0" tIns="0" rIns="0" bIns="0" anchor="t" anchorCtr="0">
            <a:spAutoFit/>
          </a:bodyPr>
          <a:lstStyle/>
          <a:p>
            <a:pPr marL="164592" lvl="0"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xxx (2) X used as riskless asset to calculate Sharpe ratio (3) Turnover is xxx (4) Net/Gross dividend yield is calculated</a:t>
            </a:r>
          </a:p>
        </p:txBody>
      </p:sp>
      <p:sp>
        <p:nvSpPr>
          <p:cNvPr id="14" name="Rectangle 6"/>
          <p:cNvSpPr>
            <a:spLocks noChangeArrowheads="1"/>
          </p:cNvSpPr>
          <p:nvPr/>
        </p:nvSpPr>
        <p:spPr bwMode="auto">
          <a:xfrm>
            <a:off x="373173" y="5682411"/>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Reference index (CUR VR)</a:t>
            </a:r>
            <a:endParaRPr lang="en-US" sz="1000" dirty="0"/>
          </a:p>
        </p:txBody>
      </p:sp>
    </p:spTree>
    <p:extLst>
      <p:ext uri="{BB962C8B-B14F-4D97-AF65-F5344CB8AC3E}">
        <p14:creationId xmlns:p14="http://schemas.microsoft.com/office/powerpoint/2010/main" val="6592036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737360" y="6400800"/>
            <a:ext cx="7680960" cy="365760"/>
          </a:xfrm>
          <a:prstGeom prst="rect">
            <a:avLst/>
          </a:prstGeom>
          <a:noFill/>
          <a:ln w="9525">
            <a:noFill/>
            <a:miter lim="800000"/>
            <a:headEnd/>
            <a:tailEnd/>
          </a:ln>
        </p:spPr>
        <p:txBody>
          <a:bodyPr lIns="0" tIns="0" rIns="0" bIns="0" anchor="t" anchorCtr="0">
            <a:spAutoFit/>
          </a:bodyPr>
          <a:lstStyle/>
          <a:p>
            <a:pPr marL="164592"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xxx</a:t>
            </a:r>
            <a:endParaRPr lang="en-US" sz="1000" dirty="0">
              <a:solidFill>
                <a:srgbClr val="D80F5F"/>
              </a:solidFill>
            </a:endParaRPr>
          </a:p>
        </p:txBody>
      </p:sp>
      <p:sp>
        <p:nvSpPr>
          <p:cNvPr id="10" name="Title 1"/>
          <p:cNvSpPr>
            <a:spLocks noGrp="1"/>
          </p:cNvSpPr>
          <p:nvPr>
            <p:ph type="title"/>
          </p:nvPr>
        </p:nvSpPr>
        <p:spPr/>
        <p:txBody>
          <a:bodyPr/>
          <a:lstStyle/>
          <a:p>
            <a:r>
              <a:rPr lang="en-US" dirty="0" smtClean="0"/>
              <a:t>Industry and </a:t>
            </a:r>
            <a:r>
              <a:rPr lang="en-US" dirty="0" err="1" smtClean="0"/>
              <a:t>supersector</a:t>
            </a:r>
            <a:r>
              <a:rPr lang="en-US" dirty="0" smtClean="0"/>
              <a:t> allocation</a:t>
            </a:r>
            <a:endParaRPr lang="en-GB" dirty="0"/>
          </a:p>
        </p:txBody>
      </p:sp>
      <p:sp>
        <p:nvSpPr>
          <p:cNvPr id="11" name="Rectangle 2"/>
          <p:cNvSpPr>
            <a:spLocks noChangeArrowheads="1"/>
          </p:cNvSpPr>
          <p:nvPr/>
        </p:nvSpPr>
        <p:spPr bwMode="auto">
          <a:xfrm>
            <a:off x="365760"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Industry allocation</a:t>
            </a:r>
            <a:r>
              <a:rPr lang="en-US" sz="1600" baseline="30000" dirty="0">
                <a:solidFill>
                  <a:schemeClr val="bg1"/>
                </a:solidFill>
              </a:rPr>
              <a:t>1)</a:t>
            </a:r>
            <a:endParaRPr lang="en-US" sz="1600" b="1" dirty="0">
              <a:solidFill>
                <a:srgbClr val="FFFFFF"/>
              </a:solidFill>
            </a:endParaRPr>
          </a:p>
        </p:txBody>
      </p:sp>
      <p:sp>
        <p:nvSpPr>
          <p:cNvPr id="13" name="TextBox 12"/>
          <p:cNvSpPr txBox="1"/>
          <p:nvPr/>
        </p:nvSpPr>
        <p:spPr>
          <a:xfrm>
            <a:off x="368300" y="-1647"/>
            <a:ext cx="9170988" cy="461665"/>
          </a:xfrm>
          <a:prstGeom prst="rect">
            <a:avLst/>
          </a:prstGeom>
          <a:noFill/>
        </p:spPr>
        <p:txBody>
          <a:bodyPr wrap="square" rtlCol="0" anchor="ctr" anchorCtr="0">
            <a:spAutoFit/>
          </a:bodyPr>
          <a:lstStyle/>
          <a:p>
            <a:pPr fontAlgn="base">
              <a:spcBef>
                <a:spcPct val="50000"/>
              </a:spcBef>
              <a:spcAft>
                <a:spcPct val="0"/>
              </a:spcAft>
            </a:pPr>
            <a:r>
              <a:rPr lang="en-US" sz="1200" b="1" dirty="0" smtClean="0">
                <a:solidFill>
                  <a:srgbClr val="D80F5F"/>
                </a:solidFill>
              </a:rPr>
              <a:t>Please organize industry allocation by largest to smallest in chart. Same for country allocation. Use top 6 countries and put the rest in others.</a:t>
            </a:r>
            <a:endParaRPr lang="de-DE" sz="1200" b="1" dirty="0">
              <a:solidFill>
                <a:srgbClr val="D80F5F"/>
              </a:solidFill>
            </a:endParaRPr>
          </a:p>
        </p:txBody>
      </p:sp>
      <p:graphicFrame>
        <p:nvGraphicFramePr>
          <p:cNvPr id="19" name="Chart 18"/>
          <p:cNvGraphicFramePr/>
          <p:nvPr>
            <p:extLst>
              <p:ext uri="{D42A27DB-BD31-4B8C-83A1-F6EECF244321}">
                <p14:modId xmlns:p14="http://schemas.microsoft.com/office/powerpoint/2010/main" val="535858618"/>
              </p:ext>
            </p:extLst>
          </p:nvPr>
        </p:nvGraphicFramePr>
        <p:xfrm>
          <a:off x="4572000" y="2173097"/>
          <a:ext cx="5029200" cy="3749040"/>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2"/>
          <p:cNvSpPr>
            <a:spLocks noChangeArrowheads="1"/>
          </p:cNvSpPr>
          <p:nvPr/>
        </p:nvSpPr>
        <p:spPr bwMode="auto">
          <a:xfrm>
            <a:off x="5166359"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Supersector allocation</a:t>
            </a:r>
            <a:r>
              <a:rPr lang="en-US" sz="1600" baseline="30000" dirty="0">
                <a:solidFill>
                  <a:schemeClr val="bg1"/>
                </a:solidFill>
              </a:rPr>
              <a:t>1)</a:t>
            </a:r>
            <a:endParaRPr lang="en-US" sz="1600" b="1" dirty="0">
              <a:solidFill>
                <a:srgbClr val="FFFFFF"/>
              </a:solidFill>
            </a:endParaRPr>
          </a:p>
        </p:txBody>
      </p:sp>
      <p:graphicFrame>
        <p:nvGraphicFramePr>
          <p:cNvPr id="18" name="Chart 17"/>
          <p:cNvGraphicFramePr/>
          <p:nvPr>
            <p:extLst>
              <p:ext uri="{D42A27DB-BD31-4B8C-83A1-F6EECF244321}">
                <p14:modId xmlns:p14="http://schemas.microsoft.com/office/powerpoint/2010/main" val="3530885611"/>
              </p:ext>
            </p:extLst>
          </p:nvPr>
        </p:nvGraphicFramePr>
        <p:xfrm>
          <a:off x="299259" y="2158960"/>
          <a:ext cx="5120466" cy="384178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p:cNvGraphicFramePr/>
          <p:nvPr>
            <p:extLst>
              <p:ext uri="{D42A27DB-BD31-4B8C-83A1-F6EECF244321}">
                <p14:modId xmlns:p14="http://schemas.microsoft.com/office/powerpoint/2010/main" val="1494987674"/>
              </p:ext>
            </p:extLst>
          </p:nvPr>
        </p:nvGraphicFramePr>
        <p:xfrm>
          <a:off x="5063044" y="2260443"/>
          <a:ext cx="4476244" cy="349265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924197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ountry allocation</a:t>
            </a:r>
            <a:endParaRPr lang="en-GB" dirty="0"/>
          </a:p>
        </p:txBody>
      </p:sp>
      <p:sp>
        <p:nvSpPr>
          <p:cNvPr id="15" name="Text Box 150"/>
          <p:cNvSpPr txBox="1">
            <a:spLocks noChangeArrowheads="1"/>
          </p:cNvSpPr>
          <p:nvPr/>
        </p:nvSpPr>
        <p:spPr bwMode="auto">
          <a:xfrm>
            <a:off x="1737360" y="6400800"/>
            <a:ext cx="7589520" cy="365760"/>
          </a:xfrm>
          <a:prstGeom prst="rect">
            <a:avLst/>
          </a:prstGeom>
          <a:noFill/>
          <a:ln w="9525">
            <a:noFill/>
            <a:miter lim="800000"/>
            <a:headEnd/>
            <a:tailEnd/>
          </a:ln>
        </p:spPr>
        <p:txBody>
          <a:bodyPr lIns="0" tIns="0" rIns="0" bIns="0" anchor="t" anchorCtr="0">
            <a:noAutofit/>
          </a:bodyPr>
          <a:lstStyle/>
          <a:p>
            <a:pPr marL="164592" indent="-164592">
              <a:lnSpc>
                <a:spcPct val="95000"/>
              </a:lnSpc>
              <a:spcBef>
                <a:spcPct val="0"/>
              </a:spcBef>
              <a:buFont typeface="+mj-lt"/>
              <a:buAutoNum type="arabicParenR"/>
            </a:pPr>
            <a:r>
              <a:rPr lang="en-US" sz="1000" dirty="0" smtClean="0">
                <a:solidFill>
                  <a:srgbClr val="AFAFAF"/>
                </a:solidFill>
              </a:rPr>
              <a:t>STOXX data as of xxx</a:t>
            </a:r>
            <a:endParaRPr lang="en-US" sz="1000" dirty="0">
              <a:solidFill>
                <a:srgbClr val="D80F5F"/>
              </a:solidFill>
            </a:endParaRPr>
          </a:p>
        </p:txBody>
      </p:sp>
      <p:sp>
        <p:nvSpPr>
          <p:cNvPr id="12" name="TextBox 11"/>
          <p:cNvSpPr txBox="1"/>
          <p:nvPr/>
        </p:nvSpPr>
        <p:spPr>
          <a:xfrm>
            <a:off x="368300" y="-1647"/>
            <a:ext cx="9170988" cy="461665"/>
          </a:xfrm>
          <a:prstGeom prst="rect">
            <a:avLst/>
          </a:prstGeom>
          <a:noFill/>
        </p:spPr>
        <p:txBody>
          <a:bodyPr wrap="square" rtlCol="0" anchor="ctr" anchorCtr="0">
            <a:spAutoFit/>
          </a:bodyPr>
          <a:lstStyle/>
          <a:p>
            <a:pPr fontAlgn="base">
              <a:spcBef>
                <a:spcPct val="50000"/>
              </a:spcBef>
              <a:spcAft>
                <a:spcPct val="0"/>
              </a:spcAft>
            </a:pPr>
            <a:r>
              <a:rPr lang="en-US" sz="1200" b="1" dirty="0" smtClean="0">
                <a:solidFill>
                  <a:srgbClr val="D80F5F"/>
                </a:solidFill>
              </a:rPr>
              <a:t>Please organize supersector allocation by largest to smallest in chart. Same for country allocation. Use top 6 countries and put the rest in others.</a:t>
            </a:r>
            <a:endParaRPr lang="de-DE" sz="1200" b="1" dirty="0">
              <a:solidFill>
                <a:srgbClr val="D80F5F"/>
              </a:solidFill>
            </a:endParaRPr>
          </a:p>
        </p:txBody>
      </p:sp>
      <p:sp>
        <p:nvSpPr>
          <p:cNvPr id="10" name="Rectangle 2"/>
          <p:cNvSpPr>
            <a:spLocks noChangeArrowheads="1"/>
          </p:cNvSpPr>
          <p:nvPr/>
        </p:nvSpPr>
        <p:spPr bwMode="auto">
          <a:xfrm>
            <a:off x="365758" y="1836000"/>
            <a:ext cx="9160829"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graphicFrame>
        <p:nvGraphicFramePr>
          <p:cNvPr id="4" name="Chart 3"/>
          <p:cNvGraphicFramePr/>
          <p:nvPr>
            <p:extLst>
              <p:ext uri="{D42A27DB-BD31-4B8C-83A1-F6EECF244321}">
                <p14:modId xmlns:p14="http://schemas.microsoft.com/office/powerpoint/2010/main" val="1885673050"/>
              </p:ext>
            </p:extLst>
          </p:nvPr>
        </p:nvGraphicFramePr>
        <p:xfrm>
          <a:off x="1945481" y="2325546"/>
          <a:ext cx="5826125" cy="365260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063953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pPr eaLnBrk="1" hangingPunct="1"/>
            <a:r>
              <a:rPr lang="en-US" dirty="0" smtClean="0"/>
              <a:t>Top 10 components by weight</a:t>
            </a:r>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822340095"/>
              </p:ext>
            </p:extLst>
          </p:nvPr>
        </p:nvGraphicFramePr>
        <p:xfrm>
          <a:off x="365760" y="1837747"/>
          <a:ext cx="9173528" cy="3996311"/>
        </p:xfrm>
        <a:graphic>
          <a:graphicData uri="http://schemas.openxmlformats.org/drawingml/2006/table">
            <a:tbl>
              <a:tblPr>
                <a:tableStyleId>{616DA210-FB5B-4158-B5E0-FEB733F419BA}</a:tableStyleId>
              </a:tblPr>
              <a:tblGrid>
                <a:gridCol w="2293382"/>
                <a:gridCol w="2293382"/>
                <a:gridCol w="2293382"/>
                <a:gridCol w="2293382"/>
              </a:tblGrid>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Name</a:t>
                      </a:r>
                      <a:r>
                        <a:rPr kumimoji="0" lang="en-US" sz="1400" b="0" i="0" u="none" strike="noStrike" kern="1200" cap="none" normalizeH="0" baseline="30000" noProof="0" dirty="0" smtClean="0">
                          <a:ln>
                            <a:noFill/>
                          </a:ln>
                          <a:solidFill>
                            <a:schemeClr val="bg1"/>
                          </a:solidFill>
                          <a:effectLst/>
                          <a:latin typeface="Arial" panose="020B0604020202020204" pitchFamily="34" charset="0"/>
                          <a:ea typeface=""/>
                          <a:cs typeface="Arial" panose="020B0604020202020204" pitchFamily="34" charset="0"/>
                        </a:rPr>
                        <a:t>1)</a:t>
                      </a:r>
                      <a:endParaRPr kumimoji="0" lang="en-US" sz="1400" b="0" i="0" u="none" strike="noStrike" cap="none" normalizeH="0" baseline="30000" noProof="0" dirty="0" smtClean="0">
                        <a:ln>
                          <a:noFill/>
                        </a:ln>
                        <a:solidFill>
                          <a:schemeClr val="tx1"/>
                        </a:solidFill>
                        <a:effectLst/>
                        <a:latin typeface="Arial" charset="0"/>
                      </a:endParaRPr>
                    </a:p>
                  </a:txBody>
                  <a:tcPr marR="0" marT="0" marB="0" anchor="ctr" horzOverflow="overflow">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Supersector</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Coun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Weight</a:t>
                      </a:r>
                      <a:endParaRPr kumimoji="0" lang="en-US" sz="1400" b="1" i="0" u="none" strike="noStrike" kern="1200" cap="none" normalizeH="0" baseline="0" noProof="0" dirty="0">
                        <a:ln>
                          <a:noFill/>
                        </a:ln>
                        <a:solidFill>
                          <a:schemeClr val="bg1"/>
                        </a:solidFill>
                        <a:effectLst/>
                        <a:latin typeface="Arial" charset="0"/>
                        <a:ea typeface=""/>
                        <a:cs typeface=""/>
                      </a:endParaRPr>
                    </a:p>
                  </a:txBody>
                  <a:tcPr marR="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Adidas </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Barclay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Vodafone Group</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IBM Corp.</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ext Box 150"/>
          <p:cNvSpPr txBox="1">
            <a:spLocks noChangeArrowheads="1"/>
          </p:cNvSpPr>
          <p:nvPr/>
        </p:nvSpPr>
        <p:spPr bwMode="auto">
          <a:xfrm>
            <a:off x="1737360" y="6400800"/>
            <a:ext cx="7589520" cy="365760"/>
          </a:xfrm>
          <a:prstGeom prst="rect">
            <a:avLst/>
          </a:prstGeom>
          <a:noFill/>
          <a:ln w="9525">
            <a:noFill/>
            <a:miter lim="800000"/>
            <a:headEnd/>
            <a:tailEnd/>
          </a:ln>
        </p:spPr>
        <p:txBody>
          <a:bodyPr lIns="0" tIns="0" rIns="0" bIns="0" anchor="t" anchorCtr="0">
            <a:noAutofit/>
          </a:bodyPr>
          <a:lstStyle/>
          <a:p>
            <a:pPr marL="164592" indent="-164592">
              <a:lnSpc>
                <a:spcPct val="95000"/>
              </a:lnSpc>
              <a:spcBef>
                <a:spcPct val="0"/>
              </a:spcBef>
              <a:buFont typeface="+mj-lt"/>
              <a:buAutoNum type="arabicParenR"/>
            </a:pPr>
            <a:r>
              <a:rPr lang="en-US" sz="1000" dirty="0" smtClean="0">
                <a:solidFill>
                  <a:srgbClr val="AFAFAF"/>
                </a:solidFill>
              </a:rPr>
              <a:t>STOXX data as of xxx</a:t>
            </a:r>
            <a:endParaRPr lang="en-US" sz="1000" dirty="0">
              <a:solidFill>
                <a:srgbClr val="D80F5F"/>
              </a:solidFill>
            </a:endParaRPr>
          </a:p>
        </p:txBody>
      </p:sp>
      <p:sp>
        <p:nvSpPr>
          <p:cNvPr id="12" name="TextBox 11"/>
          <p:cNvSpPr txBox="1"/>
          <p:nvPr/>
        </p:nvSpPr>
        <p:spPr>
          <a:xfrm>
            <a:off x="368300" y="-1647"/>
            <a:ext cx="9170988" cy="461665"/>
          </a:xfrm>
          <a:prstGeom prst="rect">
            <a:avLst/>
          </a:prstGeom>
          <a:noFill/>
        </p:spPr>
        <p:txBody>
          <a:bodyPr wrap="square" rtlCol="0" anchor="ctr" anchorCtr="0">
            <a:spAutoFit/>
          </a:bodyPr>
          <a:lstStyle/>
          <a:p>
            <a:pPr fontAlgn="base">
              <a:spcBef>
                <a:spcPct val="50000"/>
              </a:spcBef>
              <a:spcAft>
                <a:spcPct val="0"/>
              </a:spcAft>
            </a:pPr>
            <a:r>
              <a:rPr lang="en-US" sz="1200" b="1" dirty="0">
                <a:solidFill>
                  <a:srgbClr val="D80F5F"/>
                </a:solidFill>
              </a:rPr>
              <a:t>Please list from </a:t>
            </a:r>
            <a:r>
              <a:rPr lang="en-US" sz="1200" b="1" dirty="0" smtClean="0">
                <a:solidFill>
                  <a:srgbClr val="D80F5F"/>
                </a:solidFill>
              </a:rPr>
              <a:t>highest weight </a:t>
            </a:r>
            <a:r>
              <a:rPr lang="en-US" sz="1200" b="1" dirty="0">
                <a:solidFill>
                  <a:srgbClr val="D80F5F"/>
                </a:solidFill>
              </a:rPr>
              <a:t>to </a:t>
            </a:r>
            <a:r>
              <a:rPr lang="en-US" sz="1200" b="1" dirty="0" smtClean="0">
                <a:solidFill>
                  <a:srgbClr val="D80F5F"/>
                </a:solidFill>
              </a:rPr>
              <a:t>lowest. </a:t>
            </a:r>
            <a:r>
              <a:rPr lang="en-US" sz="1200" b="1" dirty="0">
                <a:solidFill>
                  <a:srgbClr val="D80F5F"/>
                </a:solidFill>
              </a:rPr>
              <a:t>Do not put company names in ALL CAPS. See </a:t>
            </a:r>
            <a:r>
              <a:rPr lang="en-US" sz="1200" b="1" dirty="0" smtClean="0">
                <a:solidFill>
                  <a:srgbClr val="D80F5F"/>
                </a:solidFill>
              </a:rPr>
              <a:t>examples below. Do not use </a:t>
            </a:r>
            <a:r>
              <a:rPr lang="en-US" sz="1200" b="1" dirty="0" err="1" smtClean="0">
                <a:solidFill>
                  <a:srgbClr val="D80F5F"/>
                </a:solidFill>
              </a:rPr>
              <a:t>Grp</a:t>
            </a:r>
            <a:r>
              <a:rPr lang="en-US" sz="1200" b="1" dirty="0" smtClean="0">
                <a:solidFill>
                  <a:srgbClr val="D80F5F"/>
                </a:solidFill>
              </a:rPr>
              <a:t> for Group. Write AG, </a:t>
            </a:r>
            <a:r>
              <a:rPr lang="en-US" sz="1200" b="1" dirty="0" err="1" smtClean="0">
                <a:solidFill>
                  <a:srgbClr val="D80F5F"/>
                </a:solidFill>
              </a:rPr>
              <a:t>KGaA</a:t>
            </a:r>
            <a:r>
              <a:rPr lang="en-US" sz="1200" b="1" dirty="0" smtClean="0">
                <a:solidFill>
                  <a:srgbClr val="D80F5F"/>
                </a:solidFill>
              </a:rPr>
              <a:t>, SE, Plc, Inc., Corp. instead of spelling out these abbreviations</a:t>
            </a:r>
            <a:endParaRPr lang="de-DE" sz="1200" b="1" dirty="0">
              <a:solidFill>
                <a:srgbClr val="D80F5F"/>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d Jones</a:t>
            </a:r>
          </a:p>
          <a:p>
            <a:pPr eaLnBrk="0" hangingPunct="0">
              <a:spcBef>
                <a:spcPct val="0"/>
              </a:spcBef>
            </a:pPr>
            <a:r>
              <a:rPr lang="en-US" sz="1200" dirty="0">
                <a:solidFill>
                  <a:srgbClr val="000000"/>
                </a:solidFill>
                <a:ea typeface="ＭＳ Ｐゴシック" pitchFamily="34" charset="-128"/>
              </a:rPr>
              <a:t>Head of North America</a:t>
            </a:r>
          </a:p>
          <a:p>
            <a:pPr eaLnBrk="0" hangingPunct="0">
              <a:spcBef>
                <a:spcPct val="0"/>
              </a:spcBef>
            </a:pPr>
            <a:r>
              <a:rPr lang="en-US" sz="1200" dirty="0">
                <a:solidFill>
                  <a:srgbClr val="000000"/>
                </a:solidFill>
                <a:ea typeface="ＭＳ Ｐゴシック" pitchFamily="34" charset="-128"/>
              </a:rPr>
              <a:t>+1 212 669 6426</a:t>
            </a:r>
          </a:p>
          <a:p>
            <a:pPr eaLnBrk="0" hangingPunct="0">
              <a:spcBef>
                <a:spcPct val="0"/>
              </a:spcBef>
            </a:pPr>
            <a:r>
              <a:rPr lang="en-US" sz="1200" dirty="0">
                <a:solidFill>
                  <a:srgbClr val="000000"/>
                </a:solidFill>
                <a:ea typeface="ＭＳ Ｐゴシック" pitchFamily="34" charset="-128"/>
              </a:rPr>
              <a:t>+1 917 916 6027 (mobile)</a:t>
            </a:r>
          </a:p>
          <a:p>
            <a:pPr eaLnBrk="0" hangingPunct="0">
              <a:spcBef>
                <a:spcPct val="0"/>
              </a:spcBef>
            </a:pPr>
            <a:r>
              <a:rPr lang="en-US" sz="12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2" y="3535223"/>
            <a:ext cx="3279468"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irley Low, </a:t>
            </a:r>
            <a:r>
              <a:rPr lang="ja-JP" altLang="en-US" sz="1200" b="1" dirty="0" smtClean="0">
                <a:solidFill>
                  <a:srgbClr val="000000"/>
                </a:solidFill>
              </a:rPr>
              <a:t>刘</a:t>
            </a:r>
            <a:r>
              <a:rPr lang="ja-JP" altLang="en-US" sz="1200" b="1" dirty="0">
                <a:solidFill>
                  <a:srgbClr val="000000"/>
                </a:solidFill>
              </a:rPr>
              <a:t>洧琁</a:t>
            </a:r>
            <a:r>
              <a:rPr lang="en-US" altLang="ja-JP" sz="1200" b="1" dirty="0" smtClean="0">
                <a:solidFill>
                  <a:srgbClr val="000000"/>
                </a:solidFill>
              </a:rPr>
              <a:t>, </a:t>
            </a:r>
            <a:r>
              <a:rPr lang="en-US" sz="1200" b="1" dirty="0" smtClean="0">
                <a:solidFill>
                  <a:srgbClr val="000000"/>
                </a:solidFill>
                <a:ea typeface="ＭＳ Ｐゴシック" pitchFamily="34" charset="-128"/>
              </a:rPr>
              <a:t>CFA, CAIA, FRM </a:t>
            </a:r>
          </a:p>
          <a:p>
            <a:pPr defTabSz="623888" eaLnBrk="0" hangingPunct="0">
              <a:spcBef>
                <a:spcPct val="0"/>
              </a:spcBef>
            </a:pPr>
            <a:r>
              <a:rPr lang="en-US" sz="1200" dirty="0" smtClean="0">
                <a:solidFill>
                  <a:prstClr val="black"/>
                </a:solidFill>
              </a:rPr>
              <a:t>Head</a:t>
            </a:r>
            <a:r>
              <a:rPr lang="en-GB" sz="1200" dirty="0" smtClean="0">
                <a:solidFill>
                  <a:prstClr val="black"/>
                </a:solidFill>
              </a:rPr>
              <a:t> </a:t>
            </a:r>
            <a:r>
              <a:rPr lang="en-US" sz="1200" dirty="0" smtClean="0">
                <a:solidFill>
                  <a:prstClr val="black"/>
                </a:solidFill>
              </a:rPr>
              <a:t>of Asia/Pacific</a:t>
            </a:r>
          </a:p>
          <a:p>
            <a:pPr defTabSz="623888" eaLnBrk="0" hangingPunct="0">
              <a:spcBef>
                <a:spcPct val="0"/>
              </a:spcBef>
            </a:pPr>
            <a:r>
              <a:rPr lang="en-US" sz="1200" dirty="0" smtClean="0">
                <a:solidFill>
                  <a:prstClr val="black"/>
                </a:solidFill>
              </a:rPr>
              <a:t>+</a:t>
            </a:r>
            <a:r>
              <a:rPr lang="en-US" sz="1200" dirty="0">
                <a:solidFill>
                  <a:prstClr val="black"/>
                </a:solidFill>
              </a:rPr>
              <a:t>41 58 399 4938</a:t>
            </a:r>
          </a:p>
          <a:p>
            <a:pPr defTabSz="623888" eaLnBrk="0" hangingPunct="0">
              <a:spcBef>
                <a:spcPct val="0"/>
              </a:spcBef>
            </a:pPr>
            <a:r>
              <a:rPr lang="en-US" sz="1200" dirty="0">
                <a:solidFill>
                  <a:prstClr val="black"/>
                </a:solidFill>
              </a:rPr>
              <a:t>+41 79 746 9519 (mobile)</a:t>
            </a:r>
            <a:endParaRPr lang="en-GB" sz="1200" dirty="0">
              <a:solidFill>
                <a:prstClr val="black"/>
              </a:solidFill>
            </a:endParaRPr>
          </a:p>
          <a:p>
            <a:pPr defTabSz="623888" eaLnBrk="0" hangingPunct="0">
              <a:spcBef>
                <a:spcPct val="0"/>
              </a:spcBef>
            </a:pPr>
            <a:r>
              <a:rPr lang="en-US" sz="1200" dirty="0" smtClean="0">
                <a:solidFill>
                  <a:prstClr val="black"/>
                </a:solidFill>
              </a:rPr>
              <a:t>shirley.low@stoxx.com</a:t>
            </a:r>
            <a:endParaRPr lang="en-US" sz="1200" dirty="0">
              <a:solidFill>
                <a:prstClr val="black"/>
              </a:solidFill>
            </a:endParaRP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de-CH" sz="1200" b="1" dirty="0">
                <a:solidFill>
                  <a:prstClr val="black"/>
                </a:solidFill>
              </a:rPr>
              <a:t>Matteo Andreetto </a:t>
            </a:r>
            <a:endParaRPr lang="de-CH" sz="1200" b="1" dirty="0" smtClean="0">
              <a:solidFill>
                <a:prstClr val="black"/>
              </a:solidFill>
            </a:endParaRPr>
          </a:p>
          <a:p>
            <a:pPr eaLnBrk="0" hangingPunct="0">
              <a:spcBef>
                <a:spcPct val="0"/>
              </a:spcBef>
            </a:pPr>
            <a:r>
              <a:rPr lang="de-CH" sz="1200" dirty="0" smtClean="0">
                <a:solidFill>
                  <a:prstClr val="black"/>
                </a:solidFill>
                <a:ea typeface="ＭＳ Ｐゴシック" pitchFamily="34" charset="-128"/>
              </a:rPr>
              <a:t>Global </a:t>
            </a:r>
            <a:r>
              <a:rPr lang="en-US" sz="1200" dirty="0">
                <a:solidFill>
                  <a:srgbClr val="000000"/>
                </a:solidFill>
                <a:ea typeface="ＭＳ Ｐゴシック" pitchFamily="34" charset="-128"/>
              </a:rPr>
              <a:t>h</a:t>
            </a:r>
            <a:r>
              <a:rPr lang="en-US" sz="1200" dirty="0" smtClean="0">
                <a:solidFill>
                  <a:srgbClr val="000000"/>
                </a:solidFill>
                <a:ea typeface="ＭＳ Ｐゴシック" pitchFamily="34" charset="-128"/>
              </a:rPr>
              <a:t>ead of sales</a:t>
            </a: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207 862 7676</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7843 065489 (mobile</a:t>
            </a:r>
            <a:r>
              <a:rPr lang="en-US" sz="1200" dirty="0" smtClean="0">
                <a:solidFill>
                  <a:srgbClr val="000000"/>
                </a:solidFill>
                <a:ea typeface="ＭＳ Ｐゴシック" pitchFamily="34" charset="-128"/>
              </a:rPr>
              <a:t>)</a:t>
            </a:r>
          </a:p>
          <a:p>
            <a:pPr eaLnBrk="0" hangingPunct="0">
              <a:spcBef>
                <a:spcPct val="0"/>
              </a:spcBef>
            </a:pPr>
            <a:r>
              <a:rPr lang="en-US" sz="1200" dirty="0">
                <a:solidFill>
                  <a:srgbClr val="000000"/>
                </a:solidFill>
                <a:ea typeface="ＭＳ Ｐゴシック" pitchFamily="34" charset="-128"/>
              </a:rPr>
              <a:t>m</a:t>
            </a:r>
            <a:r>
              <a:rPr lang="en-US" sz="1200" dirty="0" smtClean="0">
                <a:solidFill>
                  <a:srgbClr val="000000"/>
                </a:solidFill>
                <a:ea typeface="ＭＳ Ｐゴシック" pitchFamily="34" charset="-128"/>
              </a:rPr>
              <a:t>atteo.andreetto@stoxx.com</a:t>
            </a:r>
            <a:endParaRPr lang="en-US" sz="1200" dirty="0">
              <a:solidFill>
                <a:srgbClr val="000000"/>
              </a:solidFill>
              <a:ea typeface="ＭＳ Ｐゴシック" pitchFamily="34" charset="-128"/>
            </a:endParaRPr>
          </a:p>
        </p:txBody>
      </p:sp>
      <p:sp>
        <p:nvSpPr>
          <p:cNvPr id="564" name="Rectangle 569"/>
          <p:cNvSpPr>
            <a:spLocks noChangeArrowheads="1"/>
          </p:cNvSpPr>
          <p:nvPr/>
        </p:nvSpPr>
        <p:spPr bwMode="auto">
          <a:xfrm>
            <a:off x="3596680" y="3535223"/>
            <a:ext cx="2709593" cy="923330"/>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en-US" sz="1200" b="1" dirty="0">
                <a:solidFill>
                  <a:prstClr val="black"/>
                </a:solidFill>
              </a:rPr>
              <a:t>Roberto </a:t>
            </a:r>
            <a:r>
              <a:rPr lang="en-US" sz="1200" b="1" dirty="0" smtClean="0">
                <a:solidFill>
                  <a:prstClr val="black"/>
                </a:solidFill>
              </a:rPr>
              <a:t>Lazzarotto</a:t>
            </a:r>
          </a:p>
          <a:p>
            <a:pPr eaLnBrk="0" hangingPunct="0">
              <a:spcBef>
                <a:spcPct val="0"/>
              </a:spcBef>
            </a:pPr>
            <a:r>
              <a:rPr lang="en-US" sz="1200" dirty="0" smtClean="0">
                <a:solidFill>
                  <a:srgbClr val="000000"/>
                </a:solidFill>
                <a:ea typeface="ＭＳ Ｐゴシック" pitchFamily="34" charset="-128"/>
              </a:rPr>
              <a:t>Head </a:t>
            </a:r>
            <a:r>
              <a:rPr lang="en-US" sz="1200" dirty="0">
                <a:solidFill>
                  <a:srgbClr val="000000"/>
                </a:solidFill>
                <a:ea typeface="ＭＳ Ｐゴシック" pitchFamily="34" charset="-128"/>
              </a:rPr>
              <a:t>of EMEA</a:t>
            </a:r>
          </a:p>
          <a:p>
            <a:pPr eaLnBrk="0" hangingPunct="0">
              <a:spcBef>
                <a:spcPct val="0"/>
              </a:spcBef>
            </a:pPr>
            <a:r>
              <a:rPr lang="en-US" sz="1200" dirty="0">
                <a:solidFill>
                  <a:srgbClr val="000000"/>
                </a:solidFill>
                <a:ea typeface="ＭＳ Ｐゴシック" pitchFamily="34" charset="-128"/>
              </a:rPr>
              <a:t>+41 58 399 4467</a:t>
            </a:r>
          </a:p>
          <a:p>
            <a:pPr eaLnBrk="0" hangingPunct="0">
              <a:spcBef>
                <a:spcPct val="0"/>
              </a:spcBef>
            </a:pPr>
            <a:r>
              <a:rPr lang="en-US" sz="1200" dirty="0">
                <a:solidFill>
                  <a:srgbClr val="000000"/>
                </a:solidFill>
                <a:ea typeface="ＭＳ Ｐゴシック" pitchFamily="34" charset="-128"/>
              </a:rPr>
              <a:t>+41 79 438 6061 (mobile)</a:t>
            </a:r>
          </a:p>
          <a:p>
            <a:pPr eaLnBrk="0" hangingPunct="0">
              <a:spcBef>
                <a:spcPct val="0"/>
              </a:spcBef>
            </a:pPr>
            <a:r>
              <a:rPr lang="en-US" sz="1200" dirty="0">
                <a:solidFill>
                  <a:prstClr val="black"/>
                </a:solidFill>
              </a:rPr>
              <a:t>r</a:t>
            </a:r>
            <a:r>
              <a:rPr lang="en-US" sz="1200" dirty="0" smtClean="0">
                <a:solidFill>
                  <a:prstClr val="black"/>
                </a:solidFill>
              </a:rPr>
              <a:t>oberto.lazzarotto</a:t>
            </a:r>
            <a:r>
              <a:rPr lang="en-US" sz="1200" dirty="0" smtClean="0">
                <a:solidFill>
                  <a:srgbClr val="000000"/>
                </a:solidFill>
                <a:ea typeface="ＭＳ Ｐゴシック" pitchFamily="34" charset="-128"/>
              </a:rPr>
              <a:t>@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16867858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heme/theme1.xml><?xml version="1.0" encoding="utf-8"?>
<a:theme xmlns:a="http://schemas.openxmlformats.org/drawingml/2006/main" name="STOXXEmbeddedTheme">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2.xml><?xml version="1.0" encoding="utf-8"?>
<a:theme xmlns:a="http://schemas.openxmlformats.org/drawingml/2006/main" name="Template STOXX Presentations 2.0.">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3.xml><?xml version="1.0" encoding="utf-8"?>
<a:theme xmlns:a="http://schemas.openxmlformats.org/drawingml/2006/main" name="STOXX_ESG_ProductSlides">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73BFB21B-571E-41C7-B2C5-0D03628247B1}"/>
</file>

<file path=customXml/itemProps2.xml><?xml version="1.0" encoding="utf-8"?>
<ds:datastoreItem xmlns:ds="http://schemas.openxmlformats.org/officeDocument/2006/customXml" ds:itemID="{E74F7426-9CDE-458C-8ADA-25C0A383C54A}"/>
</file>

<file path=customXml/itemProps3.xml><?xml version="1.0" encoding="utf-8"?>
<ds:datastoreItem xmlns:ds="http://schemas.openxmlformats.org/officeDocument/2006/customXml" ds:itemID="{52FD43D9-76A0-4E89-B0BD-957ED5F92434}"/>
</file>

<file path=docProps/app.xml><?xml version="1.0" encoding="utf-8"?>
<Properties xmlns="http://schemas.openxmlformats.org/officeDocument/2006/extended-properties" xmlns:vt="http://schemas.openxmlformats.org/officeDocument/2006/docPropsVTypes">
  <Template>STOXXPresentations2.0</Template>
  <TotalTime>0</TotalTime>
  <Words>858</Words>
  <Application>Microsoft Office PowerPoint</Application>
  <PresentationFormat>A4 Paper (210x297 mm)</PresentationFormat>
  <Paragraphs>158</Paragraphs>
  <Slides>10</Slides>
  <Notes>5</Notes>
  <HiddenSlides>0</HiddenSlides>
  <MMClips>0</MMClips>
  <ScaleCrop>false</ScaleCrop>
  <HeadingPairs>
    <vt:vector size="4" baseType="variant">
      <vt:variant>
        <vt:lpstr>Theme</vt:lpstr>
      </vt:variant>
      <vt:variant>
        <vt:i4>3</vt:i4>
      </vt:variant>
      <vt:variant>
        <vt:lpstr>Slide Titles</vt:lpstr>
      </vt:variant>
      <vt:variant>
        <vt:i4>10</vt:i4>
      </vt:variant>
    </vt:vector>
  </HeadingPairs>
  <TitlesOfParts>
    <vt:vector size="13" baseType="lpstr">
      <vt:lpstr>STOXXEmbeddedTheme</vt:lpstr>
      <vt:lpstr>Template STOXX Presentations 2.0.</vt:lpstr>
      <vt:lpstr>STOXX_ESG_ProductSlides</vt:lpstr>
      <vt:lpstr>STOXX®  XXX INDEX (ALL CAPS) </vt:lpstr>
      <vt:lpstr>Agenda</vt:lpstr>
      <vt:lpstr>Investment case</vt:lpstr>
      <vt:lpstr>Methodology</vt:lpstr>
      <vt:lpstr>Key figures + line chart</vt:lpstr>
      <vt:lpstr>Industry and supersector allocation</vt:lpstr>
      <vt:lpstr>Country allocation</vt:lpstr>
      <vt:lpstr>Top 10 components by weight</vt:lpstr>
      <vt:lpstr>STOXX sales contact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Sekhri, Rajiv</cp:lastModifiedBy>
  <cp:revision>19</cp:revision>
  <dcterms:created xsi:type="dcterms:W3CDTF">2014-05-26T13:36:56Z</dcterms:created>
  <dcterms:modified xsi:type="dcterms:W3CDTF">2014-07-15T11:4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